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674" r:id="rId5"/>
    <p:sldMasterId id="2147483688" r:id="rId6"/>
    <p:sldMasterId id="2147483869" r:id="rId7"/>
    <p:sldMasterId id="2147483876" r:id="rId8"/>
  </p:sldMasterIdLst>
  <p:notesMasterIdLst>
    <p:notesMasterId r:id="rId29"/>
  </p:notesMasterIdLst>
  <p:sldIdLst>
    <p:sldId id="1400" r:id="rId9"/>
    <p:sldId id="4847" r:id="rId10"/>
    <p:sldId id="835" r:id="rId11"/>
    <p:sldId id="4798" r:id="rId12"/>
    <p:sldId id="4786" r:id="rId13"/>
    <p:sldId id="4801" r:id="rId14"/>
    <p:sldId id="858" r:id="rId15"/>
    <p:sldId id="4787" r:id="rId16"/>
    <p:sldId id="4788" r:id="rId17"/>
    <p:sldId id="4799" r:id="rId18"/>
    <p:sldId id="4789" r:id="rId19"/>
    <p:sldId id="4790" r:id="rId20"/>
    <p:sldId id="4791" r:id="rId21"/>
    <p:sldId id="4792" r:id="rId22"/>
    <p:sldId id="4800" r:id="rId23"/>
    <p:sldId id="4794" r:id="rId24"/>
    <p:sldId id="4795" r:id="rId25"/>
    <p:sldId id="605" r:id="rId26"/>
    <p:sldId id="4855" r:id="rId27"/>
    <p:sldId id="4856" r:id="rId2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F4F7"/>
    <a:srgbClr val="F1F3F6"/>
    <a:srgbClr val="000000"/>
    <a:srgbClr val="47A8BC"/>
    <a:srgbClr val="ACB5C8"/>
    <a:srgbClr val="2AABCA"/>
    <a:srgbClr val="B9B9B9"/>
    <a:srgbClr val="CCCCCC"/>
    <a:srgbClr val="2FC3CD"/>
    <a:srgbClr val="EEF0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ADE5B38-8CA5-42EA-9B45-07AF42D067CB}" v="327" dt="2021-07-07T13:42:01.14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8265" autoAdjust="0"/>
    <p:restoredTop sz="77446" autoAdjust="0"/>
  </p:normalViewPr>
  <p:slideViewPr>
    <p:cSldViewPr snapToGrid="0">
      <p:cViewPr varScale="1">
        <p:scale>
          <a:sx n="84" d="100"/>
          <a:sy n="84" d="100"/>
        </p:scale>
        <p:origin x="786" y="96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microsoft.com/office/2016/11/relationships/changesInfo" Target="changesInfos/changesInfo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presProps" Target="presProps.xml"/><Relationship Id="rId35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ierre Deschamps" userId="7b6cb998-e176-4a93-baf9-2d4424520f63" providerId="ADAL" clId="{DADE5B38-8CA5-42EA-9B45-07AF42D067CB}"/>
    <pc:docChg chg="undo custSel modSld">
      <pc:chgData name="Pierre Deschamps" userId="7b6cb998-e176-4a93-baf9-2d4424520f63" providerId="ADAL" clId="{DADE5B38-8CA5-42EA-9B45-07AF42D067CB}" dt="2021-07-07T13:42:01.126" v="1173" actId="1076"/>
      <pc:docMkLst>
        <pc:docMk/>
      </pc:docMkLst>
      <pc:sldChg chg="delSp mod">
        <pc:chgData name="Pierre Deschamps" userId="7b6cb998-e176-4a93-baf9-2d4424520f63" providerId="ADAL" clId="{DADE5B38-8CA5-42EA-9B45-07AF42D067CB}" dt="2021-07-05T14:10:10.683" v="147" actId="478"/>
        <pc:sldMkLst>
          <pc:docMk/>
          <pc:sldMk cId="1355386654" sldId="835"/>
        </pc:sldMkLst>
        <pc:spChg chg="del">
          <ac:chgData name="Pierre Deschamps" userId="7b6cb998-e176-4a93-baf9-2d4424520f63" providerId="ADAL" clId="{DADE5B38-8CA5-42EA-9B45-07AF42D067CB}" dt="2021-07-05T14:10:10.683" v="147" actId="478"/>
          <ac:spMkLst>
            <pc:docMk/>
            <pc:sldMk cId="1355386654" sldId="835"/>
            <ac:spMk id="2" creationId="{53AF11E2-D61A-49B2-AAE3-6A26A58127D1}"/>
          </ac:spMkLst>
        </pc:spChg>
      </pc:sldChg>
      <pc:sldChg chg="addSp delSp modSp mod addAnim delAnim modAnim">
        <pc:chgData name="Pierre Deschamps" userId="7b6cb998-e176-4a93-baf9-2d4424520f63" providerId="ADAL" clId="{DADE5B38-8CA5-42EA-9B45-07AF42D067CB}" dt="2021-07-06T19:06:28.806" v="812"/>
        <pc:sldMkLst>
          <pc:docMk/>
          <pc:sldMk cId="2837015564" sldId="858"/>
        </pc:sldMkLst>
        <pc:spChg chg="del mod">
          <ac:chgData name="Pierre Deschamps" userId="7b6cb998-e176-4a93-baf9-2d4424520f63" providerId="ADAL" clId="{DADE5B38-8CA5-42EA-9B45-07AF42D067CB}" dt="2021-07-05T13:42:27.439" v="114" actId="478"/>
          <ac:spMkLst>
            <pc:docMk/>
            <pc:sldMk cId="2837015564" sldId="858"/>
            <ac:spMk id="3" creationId="{E5AF2977-B694-814F-83E1-FE83D8F4E46D}"/>
          </ac:spMkLst>
        </pc:spChg>
        <pc:spChg chg="add mod">
          <ac:chgData name="Pierre Deschamps" userId="7b6cb998-e176-4a93-baf9-2d4424520f63" providerId="ADAL" clId="{DADE5B38-8CA5-42EA-9B45-07AF42D067CB}" dt="2021-07-05T13:42:28.093" v="115"/>
          <ac:spMkLst>
            <pc:docMk/>
            <pc:sldMk cId="2837015564" sldId="858"/>
            <ac:spMk id="29" creationId="{56FC110D-6EA6-4997-921C-8502C4E05041}"/>
          </ac:spMkLst>
        </pc:spChg>
        <pc:grpChg chg="add mod">
          <ac:chgData name="Pierre Deschamps" userId="7b6cb998-e176-4a93-baf9-2d4424520f63" providerId="ADAL" clId="{DADE5B38-8CA5-42EA-9B45-07AF42D067CB}" dt="2021-07-06T16:53:44.944" v="770" actId="164"/>
          <ac:grpSpMkLst>
            <pc:docMk/>
            <pc:sldMk cId="2837015564" sldId="858"/>
            <ac:grpSpMk id="3" creationId="{DF803515-B7AB-43F7-8061-CEF8DB14A056}"/>
          </ac:grpSpMkLst>
        </pc:grpChg>
        <pc:grpChg chg="del">
          <ac:chgData name="Pierre Deschamps" userId="7b6cb998-e176-4a93-baf9-2d4424520f63" providerId="ADAL" clId="{DADE5B38-8CA5-42EA-9B45-07AF42D067CB}" dt="2021-07-06T16:53:32.846" v="767" actId="478"/>
          <ac:grpSpMkLst>
            <pc:docMk/>
            <pc:sldMk cId="2837015564" sldId="858"/>
            <ac:grpSpMk id="6" creationId="{E1BC0A2A-C283-421E-B11B-C45696FF87E1}"/>
          </ac:grpSpMkLst>
        </pc:grpChg>
        <pc:grpChg chg="add del">
          <ac:chgData name="Pierre Deschamps" userId="7b6cb998-e176-4a93-baf9-2d4424520f63" providerId="ADAL" clId="{DADE5B38-8CA5-42EA-9B45-07AF42D067CB}" dt="2021-07-06T19:01:50.452" v="805" actId="478"/>
          <ac:grpSpMkLst>
            <pc:docMk/>
            <pc:sldMk cId="2837015564" sldId="858"/>
            <ac:grpSpMk id="7" creationId="{95679B57-747C-4B0D-8414-2BC3E727664D}"/>
          </ac:grpSpMkLst>
        </pc:grpChg>
        <pc:grpChg chg="add mod">
          <ac:chgData name="Pierre Deschamps" userId="7b6cb998-e176-4a93-baf9-2d4424520f63" providerId="ADAL" clId="{DADE5B38-8CA5-42EA-9B45-07AF42D067CB}" dt="2021-07-06T19:06:27.718" v="811" actId="164"/>
          <ac:grpSpMkLst>
            <pc:docMk/>
            <pc:sldMk cId="2837015564" sldId="858"/>
            <ac:grpSpMk id="8" creationId="{AF7EB826-B8C5-49F0-A5E4-997A15E2B9AA}"/>
          </ac:grpSpMkLst>
        </pc:grpChg>
        <pc:grpChg chg="mod topLvl">
          <ac:chgData name="Pierre Deschamps" userId="7b6cb998-e176-4a93-baf9-2d4424520f63" providerId="ADAL" clId="{DADE5B38-8CA5-42EA-9B45-07AF42D067CB}" dt="2021-07-06T19:06:27.718" v="811" actId="164"/>
          <ac:grpSpMkLst>
            <pc:docMk/>
            <pc:sldMk cId="2837015564" sldId="858"/>
            <ac:grpSpMk id="15" creationId="{0275D716-6BF1-5F4B-95C9-A10C068EBEE8}"/>
          </ac:grpSpMkLst>
        </pc:grpChg>
        <pc:grpChg chg="mod topLvl">
          <ac:chgData name="Pierre Deschamps" userId="7b6cb998-e176-4a93-baf9-2d4424520f63" providerId="ADAL" clId="{DADE5B38-8CA5-42EA-9B45-07AF42D067CB}" dt="2021-07-06T16:53:44.944" v="770" actId="164"/>
          <ac:grpSpMkLst>
            <pc:docMk/>
            <pc:sldMk cId="2837015564" sldId="858"/>
            <ac:grpSpMk id="45" creationId="{B154591C-2EB3-EC49-BE97-2B032544E196}"/>
          </ac:grpSpMkLst>
        </pc:grpChg>
        <pc:picChg chg="del topLvl">
          <ac:chgData name="Pierre Deschamps" userId="7b6cb998-e176-4a93-baf9-2d4424520f63" providerId="ADAL" clId="{DADE5B38-8CA5-42EA-9B45-07AF42D067CB}" dt="2021-07-06T16:53:32.846" v="767" actId="478"/>
          <ac:picMkLst>
            <pc:docMk/>
            <pc:sldMk cId="2837015564" sldId="858"/>
            <ac:picMk id="2" creationId="{C848E335-8091-4954-B7DA-016A9B144198}"/>
          </ac:picMkLst>
        </pc:picChg>
        <pc:picChg chg="del">
          <ac:chgData name="Pierre Deschamps" userId="7b6cb998-e176-4a93-baf9-2d4424520f63" providerId="ADAL" clId="{DADE5B38-8CA5-42EA-9B45-07AF42D067CB}" dt="2021-07-06T19:01:42.204" v="800" actId="478"/>
          <ac:picMkLst>
            <pc:docMk/>
            <pc:sldMk cId="2837015564" sldId="858"/>
            <ac:picMk id="24" creationId="{51092F2C-8367-467B-93E4-95D767076244}"/>
          </ac:picMkLst>
        </pc:picChg>
        <pc:picChg chg="del">
          <ac:chgData name="Pierre Deschamps" userId="7b6cb998-e176-4a93-baf9-2d4424520f63" providerId="ADAL" clId="{DADE5B38-8CA5-42EA-9B45-07AF42D067CB}" dt="2021-07-06T19:01:46.758" v="803" actId="478"/>
          <ac:picMkLst>
            <pc:docMk/>
            <pc:sldMk cId="2837015564" sldId="858"/>
            <ac:picMk id="25" creationId="{C9AA15F7-9EAC-4542-BAE0-AAB2E0A5F28D}"/>
          </ac:picMkLst>
        </pc:picChg>
        <pc:picChg chg="del">
          <ac:chgData name="Pierre Deschamps" userId="7b6cb998-e176-4a93-baf9-2d4424520f63" providerId="ADAL" clId="{DADE5B38-8CA5-42EA-9B45-07AF42D067CB}" dt="2021-07-06T19:01:48.586" v="804" actId="478"/>
          <ac:picMkLst>
            <pc:docMk/>
            <pc:sldMk cId="2837015564" sldId="858"/>
            <ac:picMk id="26" creationId="{F4E6F3F3-2531-49F9-B5EF-FF6EB811FC06}"/>
          </ac:picMkLst>
        </pc:picChg>
        <pc:picChg chg="del topLvl">
          <ac:chgData name="Pierre Deschamps" userId="7b6cb998-e176-4a93-baf9-2d4424520f63" providerId="ADAL" clId="{DADE5B38-8CA5-42EA-9B45-07AF42D067CB}" dt="2021-07-06T19:01:50.452" v="805" actId="478"/>
          <ac:picMkLst>
            <pc:docMk/>
            <pc:sldMk cId="2837015564" sldId="858"/>
            <ac:picMk id="28" creationId="{2CFBB490-208A-4631-93B5-18C5C3F23890}"/>
          </ac:picMkLst>
        </pc:picChg>
        <pc:picChg chg="add mod">
          <ac:chgData name="Pierre Deschamps" userId="7b6cb998-e176-4a93-baf9-2d4424520f63" providerId="ADAL" clId="{DADE5B38-8CA5-42EA-9B45-07AF42D067CB}" dt="2021-07-05T16:00:03.431" v="755" actId="1076"/>
          <ac:picMkLst>
            <pc:docMk/>
            <pc:sldMk cId="2837015564" sldId="858"/>
            <ac:picMk id="30" creationId="{2BBCA5F3-3ECD-49A8-BEEB-178CD9AFC2D8}"/>
          </ac:picMkLst>
        </pc:picChg>
        <pc:picChg chg="add mod">
          <ac:chgData name="Pierre Deschamps" userId="7b6cb998-e176-4a93-baf9-2d4424520f63" providerId="ADAL" clId="{DADE5B38-8CA5-42EA-9B45-07AF42D067CB}" dt="2021-07-06T16:53:44.944" v="770" actId="164"/>
          <ac:picMkLst>
            <pc:docMk/>
            <pc:sldMk cId="2837015564" sldId="858"/>
            <ac:picMk id="31" creationId="{5216F055-F74D-49A5-ACED-7D14EC159227}"/>
          </ac:picMkLst>
        </pc:picChg>
        <pc:picChg chg="add mod ord">
          <ac:chgData name="Pierre Deschamps" userId="7b6cb998-e176-4a93-baf9-2d4424520f63" providerId="ADAL" clId="{DADE5B38-8CA5-42EA-9B45-07AF42D067CB}" dt="2021-07-06T19:06:27.718" v="811" actId="164"/>
          <ac:picMkLst>
            <pc:docMk/>
            <pc:sldMk cId="2837015564" sldId="858"/>
            <ac:picMk id="32" creationId="{AC5359E5-CB9A-4F6F-9BDD-148A5C758522}"/>
          </ac:picMkLst>
        </pc:picChg>
        <pc:picChg chg="add mod">
          <ac:chgData name="Pierre Deschamps" userId="7b6cb998-e176-4a93-baf9-2d4424520f63" providerId="ADAL" clId="{DADE5B38-8CA5-42EA-9B45-07AF42D067CB}" dt="2021-07-06T19:06:27.718" v="811" actId="164"/>
          <ac:picMkLst>
            <pc:docMk/>
            <pc:sldMk cId="2837015564" sldId="858"/>
            <ac:picMk id="33" creationId="{1F60BE0F-F9B8-429A-BD68-B008856759A9}"/>
          </ac:picMkLst>
        </pc:picChg>
        <pc:picChg chg="add mod">
          <ac:chgData name="Pierre Deschamps" userId="7b6cb998-e176-4a93-baf9-2d4424520f63" providerId="ADAL" clId="{DADE5B38-8CA5-42EA-9B45-07AF42D067CB}" dt="2021-07-06T19:06:27.718" v="811" actId="164"/>
          <ac:picMkLst>
            <pc:docMk/>
            <pc:sldMk cId="2837015564" sldId="858"/>
            <ac:picMk id="34" creationId="{A8B9964B-EEAD-4555-A6F1-A92620C6B52E}"/>
          </ac:picMkLst>
        </pc:picChg>
        <pc:picChg chg="add mod">
          <ac:chgData name="Pierre Deschamps" userId="7b6cb998-e176-4a93-baf9-2d4424520f63" providerId="ADAL" clId="{DADE5B38-8CA5-42EA-9B45-07AF42D067CB}" dt="2021-07-06T19:06:27.718" v="811" actId="164"/>
          <ac:picMkLst>
            <pc:docMk/>
            <pc:sldMk cId="2837015564" sldId="858"/>
            <ac:picMk id="35" creationId="{D5D7134C-7E01-4D9B-8A77-AB20EB12924A}"/>
          </ac:picMkLst>
        </pc:picChg>
      </pc:sldChg>
      <pc:sldChg chg="addSp delSp modSp mod">
        <pc:chgData name="Pierre Deschamps" userId="7b6cb998-e176-4a93-baf9-2d4424520f63" providerId="ADAL" clId="{DADE5B38-8CA5-42EA-9B45-07AF42D067CB}" dt="2021-07-07T12:44:39.031" v="1170" actId="120"/>
        <pc:sldMkLst>
          <pc:docMk/>
          <pc:sldMk cId="3571003934" sldId="1400"/>
        </pc:sldMkLst>
        <pc:spChg chg="del">
          <ac:chgData name="Pierre Deschamps" userId="7b6cb998-e176-4a93-baf9-2d4424520f63" providerId="ADAL" clId="{DADE5B38-8CA5-42EA-9B45-07AF42D067CB}" dt="2021-07-06T11:59:41.424" v="761" actId="478"/>
          <ac:spMkLst>
            <pc:docMk/>
            <pc:sldMk cId="3571003934" sldId="1400"/>
            <ac:spMk id="8" creationId="{5713FD64-28BB-4026-BEA1-68A83CF238C1}"/>
          </ac:spMkLst>
        </pc:spChg>
        <pc:spChg chg="mod">
          <ac:chgData name="Pierre Deschamps" userId="7b6cb998-e176-4a93-baf9-2d4424520f63" providerId="ADAL" clId="{DADE5B38-8CA5-42EA-9B45-07AF42D067CB}" dt="2021-07-07T12:44:16.998" v="1147" actId="1038"/>
          <ac:spMkLst>
            <pc:docMk/>
            <pc:sldMk cId="3571003934" sldId="1400"/>
            <ac:spMk id="104" creationId="{817AB4C9-5319-41D5-80D9-B15559879352}"/>
          </ac:spMkLst>
        </pc:spChg>
        <pc:spChg chg="mod">
          <ac:chgData name="Pierre Deschamps" userId="7b6cb998-e176-4a93-baf9-2d4424520f63" providerId="ADAL" clId="{DADE5B38-8CA5-42EA-9B45-07AF42D067CB}" dt="2021-07-07T12:43:56.165" v="1129" actId="27636"/>
          <ac:spMkLst>
            <pc:docMk/>
            <pc:sldMk cId="3571003934" sldId="1400"/>
            <ac:spMk id="105" creationId="{8D8D6932-0223-4B22-AC37-84FB5CAE1556}"/>
          </ac:spMkLst>
        </pc:spChg>
        <pc:spChg chg="mod">
          <ac:chgData name="Pierre Deschamps" userId="7b6cb998-e176-4a93-baf9-2d4424520f63" providerId="ADAL" clId="{DADE5B38-8CA5-42EA-9B45-07AF42D067CB}" dt="2021-07-07T12:44:39.031" v="1170" actId="120"/>
          <ac:spMkLst>
            <pc:docMk/>
            <pc:sldMk cId="3571003934" sldId="1400"/>
            <ac:spMk id="106" creationId="{35F189B5-7EC3-420A-8292-DC56D1019D0B}"/>
          </ac:spMkLst>
        </pc:spChg>
        <pc:picChg chg="add mod ord">
          <ac:chgData name="Pierre Deschamps" userId="7b6cb998-e176-4a93-baf9-2d4424520f63" providerId="ADAL" clId="{DADE5B38-8CA5-42EA-9B45-07AF42D067CB}" dt="2021-07-06T11:59:07.801" v="760" actId="167"/>
          <ac:picMkLst>
            <pc:docMk/>
            <pc:sldMk cId="3571003934" sldId="1400"/>
            <ac:picMk id="7" creationId="{3EDC896D-B48F-4C24-A04B-34DDD31588BF}"/>
          </ac:picMkLst>
        </pc:picChg>
        <pc:picChg chg="del">
          <ac:chgData name="Pierre Deschamps" userId="7b6cb998-e176-4a93-baf9-2d4424520f63" providerId="ADAL" clId="{DADE5B38-8CA5-42EA-9B45-07AF42D067CB}" dt="2021-07-06T11:58:47.204" v="758" actId="478"/>
          <ac:picMkLst>
            <pc:docMk/>
            <pc:sldMk cId="3571003934" sldId="1400"/>
            <ac:picMk id="103" creationId="{D699D5E5-B1B1-4D49-ADF8-6A9A707F2227}"/>
          </ac:picMkLst>
        </pc:picChg>
      </pc:sldChg>
      <pc:sldChg chg="addSp delSp modSp mod delAnim modAnim">
        <pc:chgData name="Pierre Deschamps" userId="7b6cb998-e176-4a93-baf9-2d4424520f63" providerId="ADAL" clId="{DADE5B38-8CA5-42EA-9B45-07AF42D067CB}" dt="2021-07-06T19:00:34.441" v="797"/>
        <pc:sldMkLst>
          <pc:docMk/>
          <pc:sldMk cId="3639040489" sldId="4786"/>
        </pc:sldMkLst>
        <pc:spChg chg="mod">
          <ac:chgData name="Pierre Deschamps" userId="7b6cb998-e176-4a93-baf9-2d4424520f63" providerId="ADAL" clId="{DADE5B38-8CA5-42EA-9B45-07AF42D067CB}" dt="2021-07-05T13:42:03.784" v="113" actId="1037"/>
          <ac:spMkLst>
            <pc:docMk/>
            <pc:sldMk cId="3639040489" sldId="4786"/>
            <ac:spMk id="3" creationId="{E5AF2977-B694-814F-83E1-FE83D8F4E46D}"/>
          </ac:spMkLst>
        </pc:spChg>
        <pc:grpChg chg="mod topLvl">
          <ac:chgData name="Pierre Deschamps" userId="7b6cb998-e176-4a93-baf9-2d4424520f63" providerId="ADAL" clId="{DADE5B38-8CA5-42EA-9B45-07AF42D067CB}" dt="2021-07-06T18:57:38.935" v="790" actId="164"/>
          <ac:grpSpMkLst>
            <pc:docMk/>
            <pc:sldMk cId="3639040489" sldId="4786"/>
            <ac:grpSpMk id="15" creationId="{0275D716-6BF1-5F4B-95C9-A10C068EBEE8}"/>
          </ac:grpSpMkLst>
        </pc:grpChg>
        <pc:grpChg chg="add mod">
          <ac:chgData name="Pierre Deschamps" userId="7b6cb998-e176-4a93-baf9-2d4424520f63" providerId="ADAL" clId="{DADE5B38-8CA5-42EA-9B45-07AF42D067CB}" dt="2021-07-06T19:00:32.045" v="796" actId="164"/>
          <ac:grpSpMkLst>
            <pc:docMk/>
            <pc:sldMk cId="3639040489" sldId="4786"/>
            <ac:grpSpMk id="25" creationId="{50D72EDF-F8E4-4649-9DC8-B31FF8323553}"/>
          </ac:grpSpMkLst>
        </pc:grpChg>
        <pc:grpChg chg="del">
          <ac:chgData name="Pierre Deschamps" userId="7b6cb998-e176-4a93-baf9-2d4424520f63" providerId="ADAL" clId="{DADE5B38-8CA5-42EA-9B45-07AF42D067CB}" dt="2021-07-05T15:50:23.777" v="708" actId="478"/>
          <ac:grpSpMkLst>
            <pc:docMk/>
            <pc:sldMk cId="3639040489" sldId="4786"/>
            <ac:grpSpMk id="25" creationId="{D461482E-5C3C-4939-B55C-1FD619C1AD4B}"/>
          </ac:grpSpMkLst>
        </pc:grpChg>
        <pc:grpChg chg="del">
          <ac:chgData name="Pierre Deschamps" userId="7b6cb998-e176-4a93-baf9-2d4424520f63" providerId="ADAL" clId="{DADE5B38-8CA5-42EA-9B45-07AF42D067CB}" dt="2021-07-06T18:56:11.920" v="784" actId="478"/>
          <ac:grpSpMkLst>
            <pc:docMk/>
            <pc:sldMk cId="3639040489" sldId="4786"/>
            <ac:grpSpMk id="26" creationId="{5A9C3BA0-A24D-4080-AAC2-0EB98B7FEB9D}"/>
          </ac:grpSpMkLst>
        </pc:grpChg>
        <pc:grpChg chg="add mod">
          <ac:chgData name="Pierre Deschamps" userId="7b6cb998-e176-4a93-baf9-2d4424520f63" providerId="ADAL" clId="{DADE5B38-8CA5-42EA-9B45-07AF42D067CB}" dt="2021-07-05T15:58:48.579" v="751" actId="164"/>
          <ac:grpSpMkLst>
            <pc:docMk/>
            <pc:sldMk cId="3639040489" sldId="4786"/>
            <ac:grpSpMk id="27" creationId="{4E8317A7-E955-4DFC-B346-BD07C07CFD88}"/>
          </ac:grpSpMkLst>
        </pc:grpChg>
        <pc:grpChg chg="add mod">
          <ac:chgData name="Pierre Deschamps" userId="7b6cb998-e176-4a93-baf9-2d4424520f63" providerId="ADAL" clId="{DADE5B38-8CA5-42EA-9B45-07AF42D067CB}" dt="2021-07-06T19:00:32.045" v="796" actId="164"/>
          <ac:grpSpMkLst>
            <pc:docMk/>
            <pc:sldMk cId="3639040489" sldId="4786"/>
            <ac:grpSpMk id="29" creationId="{000C4044-5D44-42E0-84F0-6C574738D1F6}"/>
          </ac:grpSpMkLst>
        </pc:grpChg>
        <pc:grpChg chg="mod topLvl">
          <ac:chgData name="Pierre Deschamps" userId="7b6cb998-e176-4a93-baf9-2d4424520f63" providerId="ADAL" clId="{DADE5B38-8CA5-42EA-9B45-07AF42D067CB}" dt="2021-07-05T15:58:48.579" v="751" actId="164"/>
          <ac:grpSpMkLst>
            <pc:docMk/>
            <pc:sldMk cId="3639040489" sldId="4786"/>
            <ac:grpSpMk id="45" creationId="{B154591C-2EB3-EC49-BE97-2B032544E196}"/>
          </ac:grpSpMkLst>
        </pc:grpChg>
        <pc:picChg chg="del mod">
          <ac:chgData name="Pierre Deschamps" userId="7b6cb998-e176-4a93-baf9-2d4424520f63" providerId="ADAL" clId="{DADE5B38-8CA5-42EA-9B45-07AF42D067CB}" dt="2021-07-06T18:55:57.424" v="780" actId="478"/>
          <ac:picMkLst>
            <pc:docMk/>
            <pc:sldMk cId="3639040489" sldId="4786"/>
            <ac:picMk id="2" creationId="{8DEF27AB-5501-4DCF-9AF6-E6E0393FE195}"/>
          </ac:picMkLst>
        </pc:picChg>
        <pc:picChg chg="add del mod">
          <ac:chgData name="Pierre Deschamps" userId="7b6cb998-e176-4a93-baf9-2d4424520f63" providerId="ADAL" clId="{DADE5B38-8CA5-42EA-9B45-07AF42D067CB}" dt="2021-07-06T18:55:30.772" v="773" actId="478"/>
          <ac:picMkLst>
            <pc:docMk/>
            <pc:sldMk cId="3639040489" sldId="4786"/>
            <ac:picMk id="11" creationId="{813675D6-EB17-4A9D-91DB-2A6702717A77}"/>
          </ac:picMkLst>
        </pc:picChg>
        <pc:picChg chg="del mod">
          <ac:chgData name="Pierre Deschamps" userId="7b6cb998-e176-4a93-baf9-2d4424520f63" providerId="ADAL" clId="{DADE5B38-8CA5-42EA-9B45-07AF42D067CB}" dt="2021-07-06T18:55:42.851" v="776" actId="478"/>
          <ac:picMkLst>
            <pc:docMk/>
            <pc:sldMk cId="3639040489" sldId="4786"/>
            <ac:picMk id="12" creationId="{78CA321B-B0C1-45B0-8309-3A25C23CF0F7}"/>
          </ac:picMkLst>
        </pc:picChg>
        <pc:picChg chg="del mod topLvl">
          <ac:chgData name="Pierre Deschamps" userId="7b6cb998-e176-4a93-baf9-2d4424520f63" providerId="ADAL" clId="{DADE5B38-8CA5-42EA-9B45-07AF42D067CB}" dt="2021-07-06T18:56:11.920" v="784" actId="478"/>
          <ac:picMkLst>
            <pc:docMk/>
            <pc:sldMk cId="3639040489" sldId="4786"/>
            <ac:picMk id="13" creationId="{395996B4-BFEF-49DD-9202-8CBA8CAEA059}"/>
          </ac:picMkLst>
        </pc:picChg>
        <pc:picChg chg="add mod ord">
          <ac:chgData name="Pierre Deschamps" userId="7b6cb998-e176-4a93-baf9-2d4424520f63" providerId="ADAL" clId="{DADE5B38-8CA5-42EA-9B45-07AF42D067CB}" dt="2021-07-06T19:00:32.045" v="796" actId="164"/>
          <ac:picMkLst>
            <pc:docMk/>
            <pc:sldMk cId="3639040489" sldId="4786"/>
            <ac:picMk id="28" creationId="{8F1811C6-AA00-4E15-8108-792668D8573C}"/>
          </ac:picMkLst>
        </pc:picChg>
        <pc:picChg chg="del topLvl">
          <ac:chgData name="Pierre Deschamps" userId="7b6cb998-e176-4a93-baf9-2d4424520f63" providerId="ADAL" clId="{DADE5B38-8CA5-42EA-9B45-07AF42D067CB}" dt="2021-07-05T15:50:23.777" v="708" actId="478"/>
          <ac:picMkLst>
            <pc:docMk/>
            <pc:sldMk cId="3639040489" sldId="4786"/>
            <ac:picMk id="37" creationId="{17E21ADA-DAA1-4ADA-8213-5CF9111E91B8}"/>
          </ac:picMkLst>
        </pc:picChg>
        <pc:picChg chg="add mod">
          <ac:chgData name="Pierre Deschamps" userId="7b6cb998-e176-4a93-baf9-2d4424520f63" providerId="ADAL" clId="{DADE5B38-8CA5-42EA-9B45-07AF42D067CB}" dt="2021-07-05T13:41:15.048" v="34" actId="1076"/>
          <ac:picMkLst>
            <pc:docMk/>
            <pc:sldMk cId="3639040489" sldId="4786"/>
            <ac:picMk id="41" creationId="{D8875B67-1D39-4614-98CC-6CA8DC5CAA0C}"/>
          </ac:picMkLst>
        </pc:picChg>
        <pc:picChg chg="add mod">
          <ac:chgData name="Pierre Deschamps" userId="7b6cb998-e176-4a93-baf9-2d4424520f63" providerId="ADAL" clId="{DADE5B38-8CA5-42EA-9B45-07AF42D067CB}" dt="2021-07-05T15:58:48.579" v="751" actId="164"/>
          <ac:picMkLst>
            <pc:docMk/>
            <pc:sldMk cId="3639040489" sldId="4786"/>
            <ac:picMk id="42" creationId="{B0B93DD4-E273-4439-8AB2-F09E90EDA5B3}"/>
          </ac:picMkLst>
        </pc:picChg>
        <pc:picChg chg="add mod">
          <ac:chgData name="Pierre Deschamps" userId="7b6cb998-e176-4a93-baf9-2d4424520f63" providerId="ADAL" clId="{DADE5B38-8CA5-42EA-9B45-07AF42D067CB}" dt="2021-07-06T18:57:38.935" v="790" actId="164"/>
          <ac:picMkLst>
            <pc:docMk/>
            <pc:sldMk cId="3639040489" sldId="4786"/>
            <ac:picMk id="43" creationId="{781F53B5-2834-4721-9CFA-E0071B1E7F53}"/>
          </ac:picMkLst>
        </pc:picChg>
        <pc:picChg chg="add mod">
          <ac:chgData name="Pierre Deschamps" userId="7b6cb998-e176-4a93-baf9-2d4424520f63" providerId="ADAL" clId="{DADE5B38-8CA5-42EA-9B45-07AF42D067CB}" dt="2021-07-06T18:57:38.935" v="790" actId="164"/>
          <ac:picMkLst>
            <pc:docMk/>
            <pc:sldMk cId="3639040489" sldId="4786"/>
            <ac:picMk id="50" creationId="{C6BBA5AE-6CA4-4314-B90C-2C2FA9B534B0}"/>
          </ac:picMkLst>
        </pc:picChg>
        <pc:picChg chg="add mod">
          <ac:chgData name="Pierre Deschamps" userId="7b6cb998-e176-4a93-baf9-2d4424520f63" providerId="ADAL" clId="{DADE5B38-8CA5-42EA-9B45-07AF42D067CB}" dt="2021-07-06T18:57:38.935" v="790" actId="164"/>
          <ac:picMkLst>
            <pc:docMk/>
            <pc:sldMk cId="3639040489" sldId="4786"/>
            <ac:picMk id="51" creationId="{F33F3B64-3932-4D2F-AC1D-84979946D31A}"/>
          </ac:picMkLst>
        </pc:picChg>
        <pc:picChg chg="add del mod">
          <ac:chgData name="Pierre Deschamps" userId="7b6cb998-e176-4a93-baf9-2d4424520f63" providerId="ADAL" clId="{DADE5B38-8CA5-42EA-9B45-07AF42D067CB}" dt="2021-07-06T19:00:00.726" v="792" actId="478"/>
          <ac:picMkLst>
            <pc:docMk/>
            <pc:sldMk cId="3639040489" sldId="4786"/>
            <ac:picMk id="58" creationId="{CF0F17B9-DE5E-4525-B842-65528DC3C0F9}"/>
          </ac:picMkLst>
        </pc:picChg>
        <pc:picChg chg="add del mod">
          <ac:chgData name="Pierre Deschamps" userId="7b6cb998-e176-4a93-baf9-2d4424520f63" providerId="ADAL" clId="{DADE5B38-8CA5-42EA-9B45-07AF42D067CB}" dt="2021-07-05T15:54:02.502" v="722"/>
          <ac:picMkLst>
            <pc:docMk/>
            <pc:sldMk cId="3639040489" sldId="4786"/>
            <ac:picMk id="54274" creationId="{486CAD68-CFE6-459B-8514-350609CF145E}"/>
          </ac:picMkLst>
        </pc:picChg>
      </pc:sldChg>
      <pc:sldChg chg="addSp delSp modSp mod delAnim modAnim">
        <pc:chgData name="Pierre Deschamps" userId="7b6cb998-e176-4a93-baf9-2d4424520f63" providerId="ADAL" clId="{DADE5B38-8CA5-42EA-9B45-07AF42D067CB}" dt="2021-07-07T13:42:01.126" v="1173" actId="1076"/>
        <pc:sldMkLst>
          <pc:docMk/>
          <pc:sldMk cId="1117444367" sldId="4787"/>
        </pc:sldMkLst>
        <pc:spChg chg="del">
          <ac:chgData name="Pierre Deschamps" userId="7b6cb998-e176-4a93-baf9-2d4424520f63" providerId="ADAL" clId="{DADE5B38-8CA5-42EA-9B45-07AF42D067CB}" dt="2021-07-05T13:42:39.178" v="117" actId="478"/>
          <ac:spMkLst>
            <pc:docMk/>
            <pc:sldMk cId="1117444367" sldId="4787"/>
            <ac:spMk id="3" creationId="{E5AF2977-B694-814F-83E1-FE83D8F4E46D}"/>
          </ac:spMkLst>
        </pc:spChg>
        <pc:spChg chg="add mod">
          <ac:chgData name="Pierre Deschamps" userId="7b6cb998-e176-4a93-baf9-2d4424520f63" providerId="ADAL" clId="{DADE5B38-8CA5-42EA-9B45-07AF42D067CB}" dt="2021-07-05T13:42:35.591" v="116"/>
          <ac:spMkLst>
            <pc:docMk/>
            <pc:sldMk cId="1117444367" sldId="4787"/>
            <ac:spMk id="36" creationId="{34E0EC0C-2CE8-462A-97D7-FDB2DB24B72F}"/>
          </ac:spMkLst>
        </pc:spChg>
        <pc:spChg chg="mod">
          <ac:chgData name="Pierre Deschamps" userId="7b6cb998-e176-4a93-baf9-2d4424520f63" providerId="ADAL" clId="{DADE5B38-8CA5-42EA-9B45-07AF42D067CB}" dt="2021-07-06T19:01:08.585" v="799"/>
          <ac:spMkLst>
            <pc:docMk/>
            <pc:sldMk cId="1117444367" sldId="4787"/>
            <ac:spMk id="57" creationId="{8932878F-E994-47FF-B4C6-8C9C290BD257}"/>
          </ac:spMkLst>
        </pc:spChg>
        <pc:spChg chg="mod">
          <ac:chgData name="Pierre Deschamps" userId="7b6cb998-e176-4a93-baf9-2d4424520f63" providerId="ADAL" clId="{DADE5B38-8CA5-42EA-9B45-07AF42D067CB}" dt="2021-07-06T19:01:08.585" v="799"/>
          <ac:spMkLst>
            <pc:docMk/>
            <pc:sldMk cId="1117444367" sldId="4787"/>
            <ac:spMk id="58" creationId="{83F847E5-BB7A-49D1-91CC-409B9F652832}"/>
          </ac:spMkLst>
        </pc:spChg>
        <pc:grpChg chg="del">
          <ac:chgData name="Pierre Deschamps" userId="7b6cb998-e176-4a93-baf9-2d4424520f63" providerId="ADAL" clId="{DADE5B38-8CA5-42EA-9B45-07AF42D067CB}" dt="2021-07-05T15:57:33.152" v="745" actId="478"/>
          <ac:grpSpMkLst>
            <pc:docMk/>
            <pc:sldMk cId="1117444367" sldId="4787"/>
            <ac:grpSpMk id="9" creationId="{61468260-5656-4286-9112-4F9DC9BB9083}"/>
          </ac:grpSpMkLst>
        </pc:grpChg>
        <pc:grpChg chg="del">
          <ac:chgData name="Pierre Deschamps" userId="7b6cb998-e176-4a93-baf9-2d4424520f63" providerId="ADAL" clId="{DADE5B38-8CA5-42EA-9B45-07AF42D067CB}" dt="2021-07-06T19:01:07.330" v="798" actId="478"/>
          <ac:grpSpMkLst>
            <pc:docMk/>
            <pc:sldMk cId="1117444367" sldId="4787"/>
            <ac:grpSpMk id="11" creationId="{201EEE60-49A8-4884-B498-2CEBF8C910D2}"/>
          </ac:grpSpMkLst>
        </pc:grpChg>
        <pc:grpChg chg="add mod">
          <ac:chgData name="Pierre Deschamps" userId="7b6cb998-e176-4a93-baf9-2d4424520f63" providerId="ADAL" clId="{DADE5B38-8CA5-42EA-9B45-07AF42D067CB}" dt="2021-07-05T15:57:39.598" v="747" actId="164"/>
          <ac:grpSpMkLst>
            <pc:docMk/>
            <pc:sldMk cId="1117444367" sldId="4787"/>
            <ac:grpSpMk id="12" creationId="{BB939397-0032-423F-B22D-1C65D1BA54BB}"/>
          </ac:grpSpMkLst>
        </pc:grpChg>
        <pc:grpChg chg="add del mod">
          <ac:chgData name="Pierre Deschamps" userId="7b6cb998-e176-4a93-baf9-2d4424520f63" providerId="ADAL" clId="{DADE5B38-8CA5-42EA-9B45-07AF42D067CB}" dt="2021-07-07T13:41:33.889" v="1171" actId="478"/>
          <ac:grpSpMkLst>
            <pc:docMk/>
            <pc:sldMk cId="1117444367" sldId="4787"/>
            <ac:grpSpMk id="37" creationId="{BA475A15-8C5C-4296-BFAA-97F5C210D8F5}"/>
          </ac:grpSpMkLst>
        </pc:grpChg>
        <pc:grpChg chg="add mod">
          <ac:chgData name="Pierre Deschamps" userId="7b6cb998-e176-4a93-baf9-2d4424520f63" providerId="ADAL" clId="{DADE5B38-8CA5-42EA-9B45-07AF42D067CB}" dt="2021-07-06T19:01:08.585" v="799"/>
          <ac:grpSpMkLst>
            <pc:docMk/>
            <pc:sldMk cId="1117444367" sldId="4787"/>
            <ac:grpSpMk id="41" creationId="{92CC1514-A1F8-40BF-A8BB-969CFB55ED4E}"/>
          </ac:grpSpMkLst>
        </pc:grpChg>
        <pc:grpChg chg="mod">
          <ac:chgData name="Pierre Deschamps" userId="7b6cb998-e176-4a93-baf9-2d4424520f63" providerId="ADAL" clId="{DADE5B38-8CA5-42EA-9B45-07AF42D067CB}" dt="2021-07-06T19:01:08.585" v="799"/>
          <ac:grpSpMkLst>
            <pc:docMk/>
            <pc:sldMk cId="1117444367" sldId="4787"/>
            <ac:grpSpMk id="43" creationId="{289A0D92-8BE1-49EB-AD0E-7EA75DDF4408}"/>
          </ac:grpSpMkLst>
        </pc:grpChg>
        <pc:grpChg chg="mod topLvl">
          <ac:chgData name="Pierre Deschamps" userId="7b6cb998-e176-4a93-baf9-2d4424520f63" providerId="ADAL" clId="{DADE5B38-8CA5-42EA-9B45-07AF42D067CB}" dt="2021-07-05T15:57:39.598" v="747" actId="164"/>
          <ac:grpSpMkLst>
            <pc:docMk/>
            <pc:sldMk cId="1117444367" sldId="4787"/>
            <ac:grpSpMk id="45" creationId="{B154591C-2EB3-EC49-BE97-2B032544E196}"/>
          </ac:grpSpMkLst>
        </pc:grpChg>
        <pc:grpChg chg="mod">
          <ac:chgData name="Pierre Deschamps" userId="7b6cb998-e176-4a93-baf9-2d4424520f63" providerId="ADAL" clId="{DADE5B38-8CA5-42EA-9B45-07AF42D067CB}" dt="2021-07-06T19:01:08.585" v="799"/>
          <ac:grpSpMkLst>
            <pc:docMk/>
            <pc:sldMk cId="1117444367" sldId="4787"/>
            <ac:grpSpMk id="50" creationId="{5F3C5776-00BA-47A7-92F8-0756CC5170FD}"/>
          </ac:grpSpMkLst>
        </pc:grpChg>
        <pc:picChg chg="del topLvl">
          <ac:chgData name="Pierre Deschamps" userId="7b6cb998-e176-4a93-baf9-2d4424520f63" providerId="ADAL" clId="{DADE5B38-8CA5-42EA-9B45-07AF42D067CB}" dt="2021-07-05T15:57:33.152" v="745" actId="478"/>
          <ac:picMkLst>
            <pc:docMk/>
            <pc:sldMk cId="1117444367" sldId="4787"/>
            <ac:picMk id="26" creationId="{9F2143D9-05DC-4E61-ADBB-ACDBC66D9074}"/>
          </ac:picMkLst>
        </pc:picChg>
        <pc:picChg chg="mod">
          <ac:chgData name="Pierre Deschamps" userId="7b6cb998-e176-4a93-baf9-2d4424520f63" providerId="ADAL" clId="{DADE5B38-8CA5-42EA-9B45-07AF42D067CB}" dt="2021-07-05T15:35:06.294" v="219"/>
          <ac:picMkLst>
            <pc:docMk/>
            <pc:sldMk cId="1117444367" sldId="4787"/>
            <ac:picMk id="38" creationId="{B3B080B3-CEE6-4A0A-BB55-1737210D2EAB}"/>
          </ac:picMkLst>
        </pc:picChg>
        <pc:picChg chg="mod">
          <ac:chgData name="Pierre Deschamps" userId="7b6cb998-e176-4a93-baf9-2d4424520f63" providerId="ADAL" clId="{DADE5B38-8CA5-42EA-9B45-07AF42D067CB}" dt="2021-07-05T15:35:06.294" v="219"/>
          <ac:picMkLst>
            <pc:docMk/>
            <pc:sldMk cId="1117444367" sldId="4787"/>
            <ac:picMk id="39" creationId="{3541A479-D8A1-48D0-9809-8B53F74750AD}"/>
          </ac:picMkLst>
        </pc:picChg>
        <pc:picChg chg="add mod">
          <ac:chgData name="Pierre Deschamps" userId="7b6cb998-e176-4a93-baf9-2d4424520f63" providerId="ADAL" clId="{DADE5B38-8CA5-42EA-9B45-07AF42D067CB}" dt="2021-07-05T15:57:39.598" v="747" actId="164"/>
          <ac:picMkLst>
            <pc:docMk/>
            <pc:sldMk cId="1117444367" sldId="4787"/>
            <ac:picMk id="40" creationId="{E9DE53EF-0D83-4C73-905F-D4AE480D8FC1}"/>
          </ac:picMkLst>
        </pc:picChg>
        <pc:picChg chg="mod">
          <ac:chgData name="Pierre Deschamps" userId="7b6cb998-e176-4a93-baf9-2d4424520f63" providerId="ADAL" clId="{DADE5B38-8CA5-42EA-9B45-07AF42D067CB}" dt="2021-07-06T19:01:08.585" v="799"/>
          <ac:picMkLst>
            <pc:docMk/>
            <pc:sldMk cId="1117444367" sldId="4787"/>
            <ac:picMk id="42" creationId="{81A73B2D-F7C4-403E-BFDF-031685175D04}"/>
          </ac:picMkLst>
        </pc:picChg>
        <pc:picChg chg="mod">
          <ac:chgData name="Pierre Deschamps" userId="7b6cb998-e176-4a93-baf9-2d4424520f63" providerId="ADAL" clId="{DADE5B38-8CA5-42EA-9B45-07AF42D067CB}" dt="2021-07-06T19:01:08.585" v="799"/>
          <ac:picMkLst>
            <pc:docMk/>
            <pc:sldMk cId="1117444367" sldId="4787"/>
            <ac:picMk id="51" creationId="{127808EB-C93E-4392-993A-8A07AF833084}"/>
          </ac:picMkLst>
        </pc:picChg>
        <pc:picChg chg="mod">
          <ac:chgData name="Pierre Deschamps" userId="7b6cb998-e176-4a93-baf9-2d4424520f63" providerId="ADAL" clId="{DADE5B38-8CA5-42EA-9B45-07AF42D067CB}" dt="2021-07-06T19:01:08.585" v="799"/>
          <ac:picMkLst>
            <pc:docMk/>
            <pc:sldMk cId="1117444367" sldId="4787"/>
            <ac:picMk id="52" creationId="{17C97EE1-5C59-479E-A14D-F7E97EB86F96}"/>
          </ac:picMkLst>
        </pc:picChg>
        <pc:picChg chg="mod">
          <ac:chgData name="Pierre Deschamps" userId="7b6cb998-e176-4a93-baf9-2d4424520f63" providerId="ADAL" clId="{DADE5B38-8CA5-42EA-9B45-07AF42D067CB}" dt="2021-07-06T19:01:08.585" v="799"/>
          <ac:picMkLst>
            <pc:docMk/>
            <pc:sldMk cId="1117444367" sldId="4787"/>
            <ac:picMk id="54" creationId="{3E37F778-9BC8-4FBC-AC9F-DCD41F53CE54}"/>
          </ac:picMkLst>
        </pc:picChg>
        <pc:picChg chg="add mod">
          <ac:chgData name="Pierre Deschamps" userId="7b6cb998-e176-4a93-baf9-2d4424520f63" providerId="ADAL" clId="{DADE5B38-8CA5-42EA-9B45-07AF42D067CB}" dt="2021-07-07T13:42:01.126" v="1173" actId="1076"/>
          <ac:picMkLst>
            <pc:docMk/>
            <pc:sldMk cId="1117444367" sldId="4787"/>
            <ac:picMk id="59" creationId="{4188D19B-2CEF-49D9-9378-EB5C960B222C}"/>
          </ac:picMkLst>
        </pc:picChg>
      </pc:sldChg>
      <pc:sldChg chg="addSp delSp modSp mod">
        <pc:chgData name="Pierre Deschamps" userId="7b6cb998-e176-4a93-baf9-2d4424520f63" providerId="ADAL" clId="{DADE5B38-8CA5-42EA-9B45-07AF42D067CB}" dt="2021-07-05T15:43:39.458" v="681" actId="1076"/>
        <pc:sldMkLst>
          <pc:docMk/>
          <pc:sldMk cId="1852008447" sldId="4788"/>
        </pc:sldMkLst>
        <pc:spChg chg="mod">
          <ac:chgData name="Pierre Deschamps" userId="7b6cb998-e176-4a93-baf9-2d4424520f63" providerId="ADAL" clId="{DADE5B38-8CA5-42EA-9B45-07AF42D067CB}" dt="2021-07-05T15:37:14.891" v="392" actId="20577"/>
          <ac:spMkLst>
            <pc:docMk/>
            <pc:sldMk cId="1852008447" sldId="4788"/>
            <ac:spMk id="3" creationId="{E5AF2977-B694-814F-83E1-FE83D8F4E46D}"/>
          </ac:spMkLst>
        </pc:spChg>
        <pc:grpChg chg="add mod">
          <ac:chgData name="Pierre Deschamps" userId="7b6cb998-e176-4a93-baf9-2d4424520f63" providerId="ADAL" clId="{DADE5B38-8CA5-42EA-9B45-07AF42D067CB}" dt="2021-07-05T15:34:57.553" v="218" actId="164"/>
          <ac:grpSpMkLst>
            <pc:docMk/>
            <pc:sldMk cId="1852008447" sldId="4788"/>
            <ac:grpSpMk id="2" creationId="{AFC516D9-F003-4724-A75B-F7BCBA677FC1}"/>
          </ac:grpSpMkLst>
        </pc:grpChg>
        <pc:picChg chg="del">
          <ac:chgData name="Pierre Deschamps" userId="7b6cb998-e176-4a93-baf9-2d4424520f63" providerId="ADAL" clId="{DADE5B38-8CA5-42EA-9B45-07AF42D067CB}" dt="2021-07-05T15:43:33.837" v="679" actId="478"/>
          <ac:picMkLst>
            <pc:docMk/>
            <pc:sldMk cId="1852008447" sldId="4788"/>
            <ac:picMk id="22" creationId="{FC0595C2-0D4E-40E8-8539-8DA594C3EF8A}"/>
          </ac:picMkLst>
        </pc:picChg>
        <pc:picChg chg="add mod">
          <ac:chgData name="Pierre Deschamps" userId="7b6cb998-e176-4a93-baf9-2d4424520f63" providerId="ADAL" clId="{DADE5B38-8CA5-42EA-9B45-07AF42D067CB}" dt="2021-07-05T15:43:19.401" v="676" actId="1076"/>
          <ac:picMkLst>
            <pc:docMk/>
            <pc:sldMk cId="1852008447" sldId="4788"/>
            <ac:picMk id="26" creationId="{3EEA997C-D65C-4CCE-BCD5-ADA3534C2952}"/>
          </ac:picMkLst>
        </pc:picChg>
        <pc:picChg chg="add mod">
          <ac:chgData name="Pierre Deschamps" userId="7b6cb998-e176-4a93-baf9-2d4424520f63" providerId="ADAL" clId="{DADE5B38-8CA5-42EA-9B45-07AF42D067CB}" dt="2021-07-05T15:43:19.401" v="676" actId="1076"/>
          <ac:picMkLst>
            <pc:docMk/>
            <pc:sldMk cId="1852008447" sldId="4788"/>
            <ac:picMk id="27" creationId="{3AC2E6AF-F3B5-4657-A509-A09F26C197A5}"/>
          </ac:picMkLst>
        </pc:picChg>
        <pc:picChg chg="add mod">
          <ac:chgData name="Pierre Deschamps" userId="7b6cb998-e176-4a93-baf9-2d4424520f63" providerId="ADAL" clId="{DADE5B38-8CA5-42EA-9B45-07AF42D067CB}" dt="2021-07-05T15:43:39.458" v="681" actId="1076"/>
          <ac:picMkLst>
            <pc:docMk/>
            <pc:sldMk cId="1852008447" sldId="4788"/>
            <ac:picMk id="28" creationId="{B254F3AD-72DA-4D30-8832-F1951B69756B}"/>
          </ac:picMkLst>
        </pc:picChg>
        <pc:picChg chg="mod">
          <ac:chgData name="Pierre Deschamps" userId="7b6cb998-e176-4a93-baf9-2d4424520f63" providerId="ADAL" clId="{DADE5B38-8CA5-42EA-9B45-07AF42D067CB}" dt="2021-07-05T15:34:57.553" v="218" actId="164"/>
          <ac:picMkLst>
            <pc:docMk/>
            <pc:sldMk cId="1852008447" sldId="4788"/>
            <ac:picMk id="32" creationId="{5EBAE40D-81CD-4668-B1C4-CA41B15BB9E8}"/>
          </ac:picMkLst>
        </pc:picChg>
        <pc:picChg chg="mod">
          <ac:chgData name="Pierre Deschamps" userId="7b6cb998-e176-4a93-baf9-2d4424520f63" providerId="ADAL" clId="{DADE5B38-8CA5-42EA-9B45-07AF42D067CB}" dt="2021-07-05T15:34:57.553" v="218" actId="164"/>
          <ac:picMkLst>
            <pc:docMk/>
            <pc:sldMk cId="1852008447" sldId="4788"/>
            <ac:picMk id="33" creationId="{CACCDB5A-5D40-442E-8B4C-5C55A8CFCB19}"/>
          </ac:picMkLst>
        </pc:picChg>
        <pc:picChg chg="del">
          <ac:chgData name="Pierre Deschamps" userId="7b6cb998-e176-4a93-baf9-2d4424520f63" providerId="ADAL" clId="{DADE5B38-8CA5-42EA-9B45-07AF42D067CB}" dt="2021-07-05T15:43:11.002" v="674" actId="478"/>
          <ac:picMkLst>
            <pc:docMk/>
            <pc:sldMk cId="1852008447" sldId="4788"/>
            <ac:picMk id="34" creationId="{6206746D-CC89-4195-B201-99A5581C514E}"/>
          </ac:picMkLst>
        </pc:picChg>
        <pc:picChg chg="del">
          <ac:chgData name="Pierre Deschamps" userId="7b6cb998-e176-4a93-baf9-2d4424520f63" providerId="ADAL" clId="{DADE5B38-8CA5-42EA-9B45-07AF42D067CB}" dt="2021-07-05T15:43:11.002" v="674" actId="478"/>
          <ac:picMkLst>
            <pc:docMk/>
            <pc:sldMk cId="1852008447" sldId="4788"/>
            <ac:picMk id="35" creationId="{953CB915-2138-466B-B53D-D4F0AC265D5B}"/>
          </ac:picMkLst>
        </pc:picChg>
        <pc:picChg chg="mod">
          <ac:chgData name="Pierre Deschamps" userId="7b6cb998-e176-4a93-baf9-2d4424520f63" providerId="ADAL" clId="{DADE5B38-8CA5-42EA-9B45-07AF42D067CB}" dt="2021-07-05T15:43:25.835" v="678" actId="1076"/>
          <ac:picMkLst>
            <pc:docMk/>
            <pc:sldMk cId="1852008447" sldId="4788"/>
            <ac:picMk id="36" creationId="{6976D475-3FC7-4159-B889-C7D3DF5DA503}"/>
          </ac:picMkLst>
        </pc:picChg>
      </pc:sldChg>
      <pc:sldChg chg="addSp modSp mod">
        <pc:chgData name="Pierre Deschamps" userId="7b6cb998-e176-4a93-baf9-2d4424520f63" providerId="ADAL" clId="{DADE5B38-8CA5-42EA-9B45-07AF42D067CB}" dt="2021-07-05T16:00:54.885" v="757" actId="14100"/>
        <pc:sldMkLst>
          <pc:docMk/>
          <pc:sldMk cId="916960600" sldId="4789"/>
        </pc:sldMkLst>
        <pc:spChg chg="mod">
          <ac:chgData name="Pierre Deschamps" userId="7b6cb998-e176-4a93-baf9-2d4424520f63" providerId="ADAL" clId="{DADE5B38-8CA5-42EA-9B45-07AF42D067CB}" dt="2021-07-05T15:36:44.405" v="378" actId="1038"/>
          <ac:spMkLst>
            <pc:docMk/>
            <pc:sldMk cId="916960600" sldId="4789"/>
            <ac:spMk id="3" creationId="{E5AF2977-B694-814F-83E1-FE83D8F4E46D}"/>
          </ac:spMkLst>
        </pc:spChg>
        <pc:picChg chg="add mod">
          <ac:chgData name="Pierre Deschamps" userId="7b6cb998-e176-4a93-baf9-2d4424520f63" providerId="ADAL" clId="{DADE5B38-8CA5-42EA-9B45-07AF42D067CB}" dt="2021-07-05T15:36:28.061" v="364" actId="1038"/>
          <ac:picMkLst>
            <pc:docMk/>
            <pc:sldMk cId="916960600" sldId="4789"/>
            <ac:picMk id="5" creationId="{559C4886-C42C-4F45-802F-81CBC2D236D7}"/>
          </ac:picMkLst>
        </pc:picChg>
        <pc:picChg chg="add mod">
          <ac:chgData name="Pierre Deschamps" userId="7b6cb998-e176-4a93-baf9-2d4424520f63" providerId="ADAL" clId="{DADE5B38-8CA5-42EA-9B45-07AF42D067CB}" dt="2021-07-05T15:36:28.061" v="364" actId="1038"/>
          <ac:picMkLst>
            <pc:docMk/>
            <pc:sldMk cId="916960600" sldId="4789"/>
            <ac:picMk id="6" creationId="{1D12D8D3-DC67-4368-A6ED-71785ADCAC83}"/>
          </ac:picMkLst>
        </pc:picChg>
        <pc:picChg chg="mod">
          <ac:chgData name="Pierre Deschamps" userId="7b6cb998-e176-4a93-baf9-2d4424520f63" providerId="ADAL" clId="{DADE5B38-8CA5-42EA-9B45-07AF42D067CB}" dt="2021-07-05T16:00:54.885" v="757" actId="14100"/>
          <ac:picMkLst>
            <pc:docMk/>
            <pc:sldMk cId="916960600" sldId="4789"/>
            <ac:picMk id="8" creationId="{1DF8083F-6A02-4407-BB05-B5CD535A3996}"/>
          </ac:picMkLst>
        </pc:picChg>
      </pc:sldChg>
      <pc:sldChg chg="addSp delSp modSp mod">
        <pc:chgData name="Pierre Deschamps" userId="7b6cb998-e176-4a93-baf9-2d4424520f63" providerId="ADAL" clId="{DADE5B38-8CA5-42EA-9B45-07AF42D067CB}" dt="2021-07-05T16:00:31.717" v="756" actId="1076"/>
        <pc:sldMkLst>
          <pc:docMk/>
          <pc:sldMk cId="263331496" sldId="4790"/>
        </pc:sldMkLst>
        <pc:spChg chg="del">
          <ac:chgData name="Pierre Deschamps" userId="7b6cb998-e176-4a93-baf9-2d4424520f63" providerId="ADAL" clId="{DADE5B38-8CA5-42EA-9B45-07AF42D067CB}" dt="2021-07-05T15:36:53.946" v="379" actId="478"/>
          <ac:spMkLst>
            <pc:docMk/>
            <pc:sldMk cId="263331496" sldId="4790"/>
            <ac:spMk id="3" creationId="{E5AF2977-B694-814F-83E1-FE83D8F4E46D}"/>
          </ac:spMkLst>
        </pc:spChg>
        <pc:spChg chg="add mod">
          <ac:chgData name="Pierre Deschamps" userId="7b6cb998-e176-4a93-baf9-2d4424520f63" providerId="ADAL" clId="{DADE5B38-8CA5-42EA-9B45-07AF42D067CB}" dt="2021-07-05T15:36:54.559" v="380"/>
          <ac:spMkLst>
            <pc:docMk/>
            <pc:sldMk cId="263331496" sldId="4790"/>
            <ac:spMk id="6" creationId="{798D6C83-FDCA-4A13-A8B6-4A2EEBEBF359}"/>
          </ac:spMkLst>
        </pc:spChg>
        <pc:picChg chg="mod">
          <ac:chgData name="Pierre Deschamps" userId="7b6cb998-e176-4a93-baf9-2d4424520f63" providerId="ADAL" clId="{DADE5B38-8CA5-42EA-9B45-07AF42D067CB}" dt="2021-07-05T16:00:31.717" v="756" actId="1076"/>
          <ac:picMkLst>
            <pc:docMk/>
            <pc:sldMk cId="263331496" sldId="4790"/>
            <ac:picMk id="2" creationId="{A2C69B6D-730E-4731-9DB6-131A5FA209E6}"/>
          </ac:picMkLst>
        </pc:picChg>
        <pc:picChg chg="add mod">
          <ac:chgData name="Pierre Deschamps" userId="7b6cb998-e176-4a93-baf9-2d4424520f63" providerId="ADAL" clId="{DADE5B38-8CA5-42EA-9B45-07AF42D067CB}" dt="2021-07-05T15:37:58.391" v="500" actId="1038"/>
          <ac:picMkLst>
            <pc:docMk/>
            <pc:sldMk cId="263331496" sldId="4790"/>
            <ac:picMk id="7" creationId="{A04AAF97-0D96-4B1F-81C5-1C55EC707C43}"/>
          </ac:picMkLst>
        </pc:picChg>
      </pc:sldChg>
      <pc:sldChg chg="addSp delSp modSp mod">
        <pc:chgData name="Pierre Deschamps" userId="7b6cb998-e176-4a93-baf9-2d4424520f63" providerId="ADAL" clId="{DADE5B38-8CA5-42EA-9B45-07AF42D067CB}" dt="2021-07-05T15:38:25.436" v="502" actId="1076"/>
        <pc:sldMkLst>
          <pc:docMk/>
          <pc:sldMk cId="1340699346" sldId="4791"/>
        </pc:sldMkLst>
        <pc:spChg chg="del">
          <ac:chgData name="Pierre Deschamps" userId="7b6cb998-e176-4a93-baf9-2d4424520f63" providerId="ADAL" clId="{DADE5B38-8CA5-42EA-9B45-07AF42D067CB}" dt="2021-07-05T15:36:59.544" v="381" actId="478"/>
          <ac:spMkLst>
            <pc:docMk/>
            <pc:sldMk cId="1340699346" sldId="4791"/>
            <ac:spMk id="3" creationId="{E5AF2977-B694-814F-83E1-FE83D8F4E46D}"/>
          </ac:spMkLst>
        </pc:spChg>
        <pc:spChg chg="add mod">
          <ac:chgData name="Pierre Deschamps" userId="7b6cb998-e176-4a93-baf9-2d4424520f63" providerId="ADAL" clId="{DADE5B38-8CA5-42EA-9B45-07AF42D067CB}" dt="2021-07-05T15:37:00.065" v="382"/>
          <ac:spMkLst>
            <pc:docMk/>
            <pc:sldMk cId="1340699346" sldId="4791"/>
            <ac:spMk id="5" creationId="{AA77BEA8-CD29-4E73-B763-CDAAED646303}"/>
          </ac:spMkLst>
        </pc:spChg>
        <pc:picChg chg="add mod">
          <ac:chgData name="Pierre Deschamps" userId="7b6cb998-e176-4a93-baf9-2d4424520f63" providerId="ADAL" clId="{DADE5B38-8CA5-42EA-9B45-07AF42D067CB}" dt="2021-07-05T15:38:25.436" v="502" actId="1076"/>
          <ac:picMkLst>
            <pc:docMk/>
            <pc:sldMk cId="1340699346" sldId="4791"/>
            <ac:picMk id="6" creationId="{924E8574-86A3-4964-AB93-C0602DC6841A}"/>
          </ac:picMkLst>
        </pc:picChg>
      </pc:sldChg>
      <pc:sldChg chg="addSp delSp modSp mod">
        <pc:chgData name="Pierre Deschamps" userId="7b6cb998-e176-4a93-baf9-2d4424520f63" providerId="ADAL" clId="{DADE5B38-8CA5-42EA-9B45-07AF42D067CB}" dt="2021-07-05T15:42:38.273" v="673" actId="1036"/>
        <pc:sldMkLst>
          <pc:docMk/>
          <pc:sldMk cId="3142367899" sldId="4792"/>
        </pc:sldMkLst>
        <pc:picChg chg="del">
          <ac:chgData name="Pierre Deschamps" userId="7b6cb998-e176-4a93-baf9-2d4424520f63" providerId="ADAL" clId="{DADE5B38-8CA5-42EA-9B45-07AF42D067CB}" dt="2021-07-05T13:58:23.085" v="133" actId="478"/>
          <ac:picMkLst>
            <pc:docMk/>
            <pc:sldMk cId="3142367899" sldId="4792"/>
            <ac:picMk id="11" creationId="{411ECF5D-9A60-431B-AA67-F8E2ABBDA7F8}"/>
          </ac:picMkLst>
        </pc:picChg>
        <pc:picChg chg="del">
          <ac:chgData name="Pierre Deschamps" userId="7b6cb998-e176-4a93-baf9-2d4424520f63" providerId="ADAL" clId="{DADE5B38-8CA5-42EA-9B45-07AF42D067CB}" dt="2021-07-05T13:59:18.561" v="137" actId="478"/>
          <ac:picMkLst>
            <pc:docMk/>
            <pc:sldMk cId="3142367899" sldId="4792"/>
            <ac:picMk id="12" creationId="{CA7F6909-AD7D-4ACA-8B16-E4554DC09A26}"/>
          </ac:picMkLst>
        </pc:picChg>
        <pc:picChg chg="del">
          <ac:chgData name="Pierre Deschamps" userId="7b6cb998-e176-4a93-baf9-2d4424520f63" providerId="ADAL" clId="{DADE5B38-8CA5-42EA-9B45-07AF42D067CB}" dt="2021-07-05T13:57:57.502" v="120" actId="478"/>
          <ac:picMkLst>
            <pc:docMk/>
            <pc:sldMk cId="3142367899" sldId="4792"/>
            <ac:picMk id="13" creationId="{3A0600BE-13D2-4F67-95E9-EE69BB35999D}"/>
          </ac:picMkLst>
        </pc:picChg>
        <pc:picChg chg="add del mod">
          <ac:chgData name="Pierre Deschamps" userId="7b6cb998-e176-4a93-baf9-2d4424520f63" providerId="ADAL" clId="{DADE5B38-8CA5-42EA-9B45-07AF42D067CB}" dt="2021-07-05T15:42:16.368" v="605" actId="478"/>
          <ac:picMkLst>
            <pc:docMk/>
            <pc:sldMk cId="3142367899" sldId="4792"/>
            <ac:picMk id="17" creationId="{0F6B063C-ED38-41CC-B34A-51D9BCE83FB2}"/>
          </ac:picMkLst>
        </pc:picChg>
        <pc:picChg chg="add del mod">
          <ac:chgData name="Pierre Deschamps" userId="7b6cb998-e176-4a93-baf9-2d4424520f63" providerId="ADAL" clId="{DADE5B38-8CA5-42EA-9B45-07AF42D067CB}" dt="2021-07-05T15:42:30.280" v="646" actId="478"/>
          <ac:picMkLst>
            <pc:docMk/>
            <pc:sldMk cId="3142367899" sldId="4792"/>
            <ac:picMk id="18" creationId="{1E7DE5A5-9D48-40D3-A8F4-AB2AE7F714E6}"/>
          </ac:picMkLst>
        </pc:picChg>
        <pc:picChg chg="add mod">
          <ac:chgData name="Pierre Deschamps" userId="7b6cb998-e176-4a93-baf9-2d4424520f63" providerId="ADAL" clId="{DADE5B38-8CA5-42EA-9B45-07AF42D067CB}" dt="2021-07-05T15:42:24.849" v="644" actId="1036"/>
          <ac:picMkLst>
            <pc:docMk/>
            <pc:sldMk cId="3142367899" sldId="4792"/>
            <ac:picMk id="19" creationId="{B9EE771B-D535-477F-9E9A-B6CE8F184711}"/>
          </ac:picMkLst>
        </pc:picChg>
        <pc:picChg chg="add mod">
          <ac:chgData name="Pierre Deschamps" userId="7b6cb998-e176-4a93-baf9-2d4424520f63" providerId="ADAL" clId="{DADE5B38-8CA5-42EA-9B45-07AF42D067CB}" dt="2021-07-05T15:42:38.273" v="673" actId="1036"/>
          <ac:picMkLst>
            <pc:docMk/>
            <pc:sldMk cId="3142367899" sldId="4792"/>
            <ac:picMk id="20" creationId="{0F4E2CDD-8234-4C8F-9FF1-ED54E86ECA99}"/>
          </ac:picMkLst>
        </pc:picChg>
        <pc:picChg chg="del">
          <ac:chgData name="Pierre Deschamps" userId="7b6cb998-e176-4a93-baf9-2d4424520f63" providerId="ADAL" clId="{DADE5B38-8CA5-42EA-9B45-07AF42D067CB}" dt="2021-07-05T13:58:22.285" v="132" actId="478"/>
          <ac:picMkLst>
            <pc:docMk/>
            <pc:sldMk cId="3142367899" sldId="4792"/>
            <ac:picMk id="21" creationId="{AD951B69-16F7-4161-BD3B-3E565BADA48B}"/>
          </ac:picMkLst>
        </pc:picChg>
        <pc:picChg chg="add mod">
          <ac:chgData name="Pierre Deschamps" userId="7b6cb998-e176-4a93-baf9-2d4424520f63" providerId="ADAL" clId="{DADE5B38-8CA5-42EA-9B45-07AF42D067CB}" dt="2021-07-05T15:42:13.264" v="604" actId="14100"/>
          <ac:picMkLst>
            <pc:docMk/>
            <pc:sldMk cId="3142367899" sldId="4792"/>
            <ac:picMk id="51202" creationId="{8A8154CE-CE62-4E65-B5DE-05134582D264}"/>
          </ac:picMkLst>
        </pc:picChg>
        <pc:picChg chg="add del">
          <ac:chgData name="Pierre Deschamps" userId="7b6cb998-e176-4a93-baf9-2d4424520f63" providerId="ADAL" clId="{DADE5B38-8CA5-42EA-9B45-07AF42D067CB}" dt="2021-07-05T13:59:22.305" v="139"/>
          <ac:picMkLst>
            <pc:docMk/>
            <pc:sldMk cId="3142367899" sldId="4792"/>
            <ac:picMk id="51204" creationId="{9A419167-8C98-4665-80D5-837633A345B8}"/>
          </ac:picMkLst>
        </pc:picChg>
        <pc:picChg chg="add del">
          <ac:chgData name="Pierre Deschamps" userId="7b6cb998-e176-4a93-baf9-2d4424520f63" providerId="ADAL" clId="{DADE5B38-8CA5-42EA-9B45-07AF42D067CB}" dt="2021-07-05T15:40:58.647" v="571"/>
          <ac:picMkLst>
            <pc:docMk/>
            <pc:sldMk cId="3142367899" sldId="4792"/>
            <ac:picMk id="51206" creationId="{5D157313-BE69-48D5-8386-B365401E1814}"/>
          </ac:picMkLst>
        </pc:picChg>
        <pc:picChg chg="add mod">
          <ac:chgData name="Pierre Deschamps" userId="7b6cb998-e176-4a93-baf9-2d4424520f63" providerId="ADAL" clId="{DADE5B38-8CA5-42EA-9B45-07AF42D067CB}" dt="2021-07-05T15:42:02.831" v="586" actId="1035"/>
          <ac:picMkLst>
            <pc:docMk/>
            <pc:sldMk cId="3142367899" sldId="4792"/>
            <ac:picMk id="51208" creationId="{5053C009-55AD-4BCC-A78D-3BCF11D18544}"/>
          </ac:picMkLst>
        </pc:picChg>
      </pc:sldChg>
      <pc:sldChg chg="addSp modSp mod">
        <pc:chgData name="Pierre Deschamps" userId="7b6cb998-e176-4a93-baf9-2d4424520f63" providerId="ADAL" clId="{DADE5B38-8CA5-42EA-9B45-07AF42D067CB}" dt="2021-07-05T15:39:17.215" v="569" actId="1038"/>
        <pc:sldMkLst>
          <pc:docMk/>
          <pc:sldMk cId="757668919" sldId="4794"/>
        </pc:sldMkLst>
        <pc:spChg chg="mod">
          <ac:chgData name="Pierre Deschamps" userId="7b6cb998-e176-4a93-baf9-2d4424520f63" providerId="ADAL" clId="{DADE5B38-8CA5-42EA-9B45-07AF42D067CB}" dt="2021-07-05T15:39:17.215" v="569" actId="1038"/>
          <ac:spMkLst>
            <pc:docMk/>
            <pc:sldMk cId="757668919" sldId="4794"/>
            <ac:spMk id="2" creationId="{DA745CB3-24B5-174D-AB39-F2F7074C0232}"/>
          </ac:spMkLst>
        </pc:spChg>
        <pc:picChg chg="add mod">
          <ac:chgData name="Pierre Deschamps" userId="7b6cb998-e176-4a93-baf9-2d4424520f63" providerId="ADAL" clId="{DADE5B38-8CA5-42EA-9B45-07AF42D067CB}" dt="2021-07-05T15:39:07.839" v="555" actId="1038"/>
          <ac:picMkLst>
            <pc:docMk/>
            <pc:sldMk cId="757668919" sldId="4794"/>
            <ac:picMk id="44" creationId="{CA5B93B7-63E0-461E-94A4-35C539537029}"/>
          </ac:picMkLst>
        </pc:picChg>
        <pc:picChg chg="add mod">
          <ac:chgData name="Pierre Deschamps" userId="7b6cb998-e176-4a93-baf9-2d4424520f63" providerId="ADAL" clId="{DADE5B38-8CA5-42EA-9B45-07AF42D067CB}" dt="2021-07-05T15:39:07.839" v="555" actId="1038"/>
          <ac:picMkLst>
            <pc:docMk/>
            <pc:sldMk cId="757668919" sldId="4794"/>
            <ac:picMk id="45" creationId="{C5711638-D6F4-43DC-A017-D48E0B0C0344}"/>
          </ac:picMkLst>
        </pc:picChg>
      </pc:sldChg>
      <pc:sldChg chg="delSp modSp mod">
        <pc:chgData name="Pierre Deschamps" userId="7b6cb998-e176-4a93-baf9-2d4424520f63" providerId="ADAL" clId="{DADE5B38-8CA5-42EA-9B45-07AF42D067CB}" dt="2021-07-05T15:38:40.143" v="503" actId="478"/>
        <pc:sldMkLst>
          <pc:docMk/>
          <pc:sldMk cId="1603541540" sldId="4795"/>
        </pc:sldMkLst>
        <pc:spChg chg="del">
          <ac:chgData name="Pierre Deschamps" userId="7b6cb998-e176-4a93-baf9-2d4424520f63" providerId="ADAL" clId="{DADE5B38-8CA5-42EA-9B45-07AF42D067CB}" dt="2021-07-05T15:38:40.143" v="503" actId="478"/>
          <ac:spMkLst>
            <pc:docMk/>
            <pc:sldMk cId="1603541540" sldId="4795"/>
            <ac:spMk id="19" creationId="{B401CD6B-EC2B-43EA-8165-F882E01B9150}"/>
          </ac:spMkLst>
        </pc:spChg>
        <pc:graphicFrameChg chg="modGraphic">
          <ac:chgData name="Pierre Deschamps" userId="7b6cb998-e176-4a93-baf9-2d4424520f63" providerId="ADAL" clId="{DADE5B38-8CA5-42EA-9B45-07AF42D067CB}" dt="2021-07-05T14:01:50.970" v="146" actId="20577"/>
          <ac:graphicFrameMkLst>
            <pc:docMk/>
            <pc:sldMk cId="1603541540" sldId="4795"/>
            <ac:graphicFrameMk id="4" creationId="{1EEA7AC0-2FE9-4D25-BAC7-1B46427F31F2}"/>
          </ac:graphicFrameMkLst>
        </pc:graphicFrameChg>
      </pc:sldChg>
      <pc:sldChg chg="delSp mod">
        <pc:chgData name="Pierre Deschamps" userId="7b6cb998-e176-4a93-baf9-2d4424520f63" providerId="ADAL" clId="{DADE5B38-8CA5-42EA-9B45-07AF42D067CB}" dt="2021-07-05T14:10:16.473" v="148" actId="478"/>
        <pc:sldMkLst>
          <pc:docMk/>
          <pc:sldMk cId="3587582359" sldId="4798"/>
        </pc:sldMkLst>
        <pc:spChg chg="del">
          <ac:chgData name="Pierre Deschamps" userId="7b6cb998-e176-4a93-baf9-2d4424520f63" providerId="ADAL" clId="{DADE5B38-8CA5-42EA-9B45-07AF42D067CB}" dt="2021-07-05T14:10:16.473" v="148" actId="478"/>
          <ac:spMkLst>
            <pc:docMk/>
            <pc:sldMk cId="3587582359" sldId="4798"/>
            <ac:spMk id="2" creationId="{53AF11E2-D61A-49B2-AAE3-6A26A58127D1}"/>
          </ac:spMkLst>
        </pc:spChg>
      </pc:sldChg>
      <pc:sldChg chg="delSp mod">
        <pc:chgData name="Pierre Deschamps" userId="7b6cb998-e176-4a93-baf9-2d4424520f63" providerId="ADAL" clId="{DADE5B38-8CA5-42EA-9B45-07AF42D067CB}" dt="2021-07-05T13:54:37.288" v="119" actId="478"/>
        <pc:sldMkLst>
          <pc:docMk/>
          <pc:sldMk cId="2455483415" sldId="4799"/>
        </pc:sldMkLst>
        <pc:spChg chg="del">
          <ac:chgData name="Pierre Deschamps" userId="7b6cb998-e176-4a93-baf9-2d4424520f63" providerId="ADAL" clId="{DADE5B38-8CA5-42EA-9B45-07AF42D067CB}" dt="2021-07-05T13:54:37.288" v="119" actId="478"/>
          <ac:spMkLst>
            <pc:docMk/>
            <pc:sldMk cId="2455483415" sldId="4799"/>
            <ac:spMk id="2" creationId="{53AF11E2-D61A-49B2-AAE3-6A26A58127D1}"/>
          </ac:spMkLst>
        </pc:spChg>
      </pc:sldChg>
      <pc:sldChg chg="delSp mod">
        <pc:chgData name="Pierre Deschamps" userId="7b6cb998-e176-4a93-baf9-2d4424520f63" providerId="ADAL" clId="{DADE5B38-8CA5-42EA-9B45-07AF42D067CB}" dt="2021-07-05T13:54:27.276" v="118" actId="478"/>
        <pc:sldMkLst>
          <pc:docMk/>
          <pc:sldMk cId="3605722195" sldId="4800"/>
        </pc:sldMkLst>
        <pc:spChg chg="del">
          <ac:chgData name="Pierre Deschamps" userId="7b6cb998-e176-4a93-baf9-2d4424520f63" providerId="ADAL" clId="{DADE5B38-8CA5-42EA-9B45-07AF42D067CB}" dt="2021-07-05T13:54:27.276" v="118" actId="478"/>
          <ac:spMkLst>
            <pc:docMk/>
            <pc:sldMk cId="3605722195" sldId="4800"/>
            <ac:spMk id="53" creationId="{90C9ABB6-0560-483D-B366-B9909675DBDF}"/>
          </ac:spMkLst>
        </pc:spChg>
      </pc:sldChg>
      <pc:sldChg chg="addSp delSp modSp mod modAnim">
        <pc:chgData name="Pierre Deschamps" userId="7b6cb998-e176-4a93-baf9-2d4424520f63" providerId="ADAL" clId="{DADE5B38-8CA5-42EA-9B45-07AF42D067CB}" dt="2021-07-05T15:47:55.253" v="707"/>
        <pc:sldMkLst>
          <pc:docMk/>
          <pc:sldMk cId="3229962576" sldId="4801"/>
        </pc:sldMkLst>
        <pc:spChg chg="mod">
          <ac:chgData name="Pierre Deschamps" userId="7b6cb998-e176-4a93-baf9-2d4424520f63" providerId="ADAL" clId="{DADE5B38-8CA5-42EA-9B45-07AF42D067CB}" dt="2021-07-05T15:34:27.482" v="216" actId="1037"/>
          <ac:spMkLst>
            <pc:docMk/>
            <pc:sldMk cId="3229962576" sldId="4801"/>
            <ac:spMk id="3" creationId="{E5AF2977-B694-814F-83E1-FE83D8F4E46D}"/>
          </ac:spMkLst>
        </pc:spChg>
        <pc:spChg chg="mod">
          <ac:chgData name="Pierre Deschamps" userId="7b6cb998-e176-4a93-baf9-2d4424520f63" providerId="ADAL" clId="{DADE5B38-8CA5-42EA-9B45-07AF42D067CB}" dt="2021-07-05T15:47:05.134" v="700" actId="1076"/>
          <ac:spMkLst>
            <pc:docMk/>
            <pc:sldMk cId="3229962576" sldId="4801"/>
            <ac:spMk id="16" creationId="{975699BF-DD17-6748-9C9F-466BEF075218}"/>
          </ac:spMkLst>
        </pc:spChg>
        <pc:spChg chg="mod">
          <ac:chgData name="Pierre Deschamps" userId="7b6cb998-e176-4a93-baf9-2d4424520f63" providerId="ADAL" clId="{DADE5B38-8CA5-42EA-9B45-07AF42D067CB}" dt="2021-07-05T15:47:05.134" v="700" actId="1076"/>
          <ac:spMkLst>
            <pc:docMk/>
            <pc:sldMk cId="3229962576" sldId="4801"/>
            <ac:spMk id="17" creationId="{C6DB95A4-A24D-8145-AE17-522743042343}"/>
          </ac:spMkLst>
        </pc:spChg>
        <pc:grpChg chg="add mod">
          <ac:chgData name="Pierre Deschamps" userId="7b6cb998-e176-4a93-baf9-2d4424520f63" providerId="ADAL" clId="{DADE5B38-8CA5-42EA-9B45-07AF42D067CB}" dt="2021-07-05T15:47:51.518" v="706" actId="164"/>
          <ac:grpSpMkLst>
            <pc:docMk/>
            <pc:sldMk cId="3229962576" sldId="4801"/>
            <ac:grpSpMk id="2" creationId="{AAAA6619-7A5E-43F1-9DA6-519820A5425E}"/>
          </ac:grpSpMkLst>
        </pc:grpChg>
        <pc:grpChg chg="mod">
          <ac:chgData name="Pierre Deschamps" userId="7b6cb998-e176-4a93-baf9-2d4424520f63" providerId="ADAL" clId="{DADE5B38-8CA5-42EA-9B45-07AF42D067CB}" dt="2021-07-05T15:47:05.134" v="700" actId="1076"/>
          <ac:grpSpMkLst>
            <pc:docMk/>
            <pc:sldMk cId="3229962576" sldId="4801"/>
            <ac:grpSpMk id="15" creationId="{0275D716-6BF1-5F4B-95C9-A10C068EBEE8}"/>
          </ac:grpSpMkLst>
        </pc:grpChg>
        <pc:grpChg chg="mod">
          <ac:chgData name="Pierre Deschamps" userId="7b6cb998-e176-4a93-baf9-2d4424520f63" providerId="ADAL" clId="{DADE5B38-8CA5-42EA-9B45-07AF42D067CB}" dt="2021-07-05T15:47:51.518" v="706" actId="164"/>
          <ac:grpSpMkLst>
            <pc:docMk/>
            <pc:sldMk cId="3229962576" sldId="4801"/>
            <ac:grpSpMk id="34" creationId="{C0BEF94C-4C1F-480B-AE7D-68F8ACC75839}"/>
          </ac:grpSpMkLst>
        </pc:grpChg>
        <pc:picChg chg="add mod">
          <ac:chgData name="Pierre Deschamps" userId="7b6cb998-e176-4a93-baf9-2d4424520f63" providerId="ADAL" clId="{DADE5B38-8CA5-42EA-9B45-07AF42D067CB}" dt="2021-07-05T15:34:33.720" v="217"/>
          <ac:picMkLst>
            <pc:docMk/>
            <pc:sldMk cId="3229962576" sldId="4801"/>
            <ac:picMk id="37" creationId="{6F089250-8A2A-44A1-9E92-B6BBB389F5CD}"/>
          </ac:picMkLst>
        </pc:picChg>
        <pc:picChg chg="del mod">
          <ac:chgData name="Pierre Deschamps" userId="7b6cb998-e176-4a93-baf9-2d4424520f63" providerId="ADAL" clId="{DADE5B38-8CA5-42EA-9B45-07AF42D067CB}" dt="2021-07-05T15:46:59.932" v="697" actId="478"/>
          <ac:picMkLst>
            <pc:docMk/>
            <pc:sldMk cId="3229962576" sldId="4801"/>
            <ac:picMk id="1036" creationId="{AC1C942B-79C4-4A36-B586-64C64FEAFE76}"/>
          </ac:picMkLst>
        </pc:picChg>
        <pc:picChg chg="mod">
          <ac:chgData name="Pierre Deschamps" userId="7b6cb998-e176-4a93-baf9-2d4424520f63" providerId="ADAL" clId="{DADE5B38-8CA5-42EA-9B45-07AF42D067CB}" dt="2021-07-05T15:47:05.134" v="700" actId="1076"/>
          <ac:picMkLst>
            <pc:docMk/>
            <pc:sldMk cId="3229962576" sldId="4801"/>
            <ac:picMk id="1038" creationId="{BF0842DC-F534-40A7-B8A4-AA278B7F5CB2}"/>
          </ac:picMkLst>
        </pc:picChg>
        <pc:picChg chg="mod">
          <ac:chgData name="Pierre Deschamps" userId="7b6cb998-e176-4a93-baf9-2d4424520f63" providerId="ADAL" clId="{DADE5B38-8CA5-42EA-9B45-07AF42D067CB}" dt="2021-07-05T15:47:05.134" v="700" actId="1076"/>
          <ac:picMkLst>
            <pc:docMk/>
            <pc:sldMk cId="3229962576" sldId="4801"/>
            <ac:picMk id="1040" creationId="{2F08C388-BD54-4479-A40D-008FC555FFEA}"/>
          </ac:picMkLst>
        </pc:picChg>
        <pc:picChg chg="add mod">
          <ac:chgData name="Pierre Deschamps" userId="7b6cb998-e176-4a93-baf9-2d4424520f63" providerId="ADAL" clId="{DADE5B38-8CA5-42EA-9B45-07AF42D067CB}" dt="2021-07-05T15:47:51.518" v="706" actId="164"/>
          <ac:picMkLst>
            <pc:docMk/>
            <pc:sldMk cId="3229962576" sldId="4801"/>
            <ac:picMk id="52226" creationId="{404006C2-29EA-4748-BDFB-0ECD934BAD93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70FD61-60E6-40A0-B594-C2338EC0D460}" type="datetimeFigureOut">
              <a:rPr lang="en-GB" smtClean="0"/>
              <a:t>07/07/2021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99146C-C02F-4019-BF8F-2CD7A53F5D6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70398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863621-2E60-B848-8968-B0341E26A31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61179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D49AD1-3876-4314-B5EE-D4183CB90B17}" type="slidenum">
              <a:rPr lang="de-DE" smtClean="0"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401732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D49AD1-3876-4314-B5EE-D4183CB90B17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046734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D49AD1-3876-4314-B5EE-D4183CB90B17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216059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D49AD1-3876-4314-B5EE-D4183CB90B17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877752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99146C-C02F-4019-BF8F-2CD7A53F5D61}" type="slidenum">
              <a:rPr lang="en-GB" smtClean="0"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87754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D49AD1-3876-4314-B5EE-D4183CB90B17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92692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D49AD1-3876-4314-B5EE-D4183CB90B17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301489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D49AD1-3876-4314-B5EE-D4183CB90B17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06452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D49AD1-3876-4314-B5EE-D4183CB90B17}" type="slidenum">
              <a:rPr lang="de-DE" smtClean="0"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034547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l">
              <a:buNone/>
              <a:defRPr sz="2400" i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B4B26B-0123-7B40-B6AC-9D9BB1D1385E}" type="datetimeFigureOut">
              <a:rPr lang="en-US" smtClean="0"/>
              <a:t>7/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DF26F-08C6-624C-AD04-EC7C70871C05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2362" y="1728845"/>
            <a:ext cx="180000" cy="90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dirty="0"/>
              <a:t> </a:t>
            </a: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1524000" y="1369440"/>
            <a:ext cx="9144000" cy="1893446"/>
          </a:xfrm>
        </p:spPr>
        <p:txBody>
          <a:bodyPr anchor="ctr" anchorCtr="0"/>
          <a:lstStyle>
            <a:lvl1pPr algn="l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1825625"/>
            <a:ext cx="6172200" cy="4035425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825625"/>
            <a:ext cx="3932237" cy="4043363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B4B26B-0123-7B40-B6AC-9D9BB1D1385E}" type="datetimeFigureOut">
              <a:rPr lang="en-US" smtClean="0"/>
              <a:t>7/7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DF26F-08C6-624C-AD04-EC7C70871C05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838199" y="365125"/>
            <a:ext cx="9720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/>
          <p:nvPr/>
        </p:nvSpPr>
        <p:spPr>
          <a:xfrm>
            <a:off x="0" y="577906"/>
            <a:ext cx="180000" cy="90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dirty="0"/>
              <a:t> 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2057400"/>
            <a:ext cx="6172200" cy="380365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B4B26B-0123-7B40-B6AC-9D9BB1D1385E}" type="datetimeFigureOut">
              <a:rPr lang="en-US" smtClean="0"/>
              <a:t>7/7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DF26F-08C6-624C-AD04-EC7C70871C05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838199" y="365125"/>
            <a:ext cx="9720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Rectangle 9"/>
          <p:cNvSpPr/>
          <p:nvPr/>
        </p:nvSpPr>
        <p:spPr>
          <a:xfrm>
            <a:off x="0" y="577906"/>
            <a:ext cx="180000" cy="90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dirty="0"/>
              <a:t> 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B4B26B-0123-7B40-B6AC-9D9BB1D1385E}" type="datetimeFigureOut">
              <a:rPr lang="en-US" smtClean="0"/>
              <a:t>7/7/2021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DF26F-08C6-624C-AD04-EC7C70871C05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0" y="577906"/>
            <a:ext cx="180000" cy="90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dirty="0"/>
              <a:t> 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B4B26B-0123-7B40-B6AC-9D9BB1D1385E}" type="datetimeFigureOut">
              <a:rPr lang="en-US" smtClean="0"/>
              <a:t>7/7/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DF26F-08C6-624C-AD04-EC7C70871C05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l">
              <a:buNone/>
              <a:defRPr sz="2400" i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CFF9A3-DCB1-5F4D-AFC8-FEE11523ED6B}" type="datetimeFigureOut">
              <a:rPr lang="en-US" smtClean="0"/>
              <a:t>7/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7509ED-1356-7C41-9915-775EDECC56C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2362" y="1728845"/>
            <a:ext cx="180000" cy="90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dirty="0"/>
              <a:t> </a:t>
            </a: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1524000" y="1369440"/>
            <a:ext cx="9144000" cy="1893446"/>
          </a:xfrm>
        </p:spPr>
        <p:txBody>
          <a:bodyPr anchor="ctr" anchorCtr="0"/>
          <a:lstStyle>
            <a:lvl1pPr algn="l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+ backgrou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Background picture 16-9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369440"/>
            <a:ext cx="9144000" cy="1893446"/>
          </a:xfrm>
        </p:spPr>
        <p:txBody>
          <a:bodyPr anchor="ctr" anchorCtr="0"/>
          <a:lstStyle>
            <a:lvl1pPr algn="l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l">
              <a:buNone/>
              <a:defRPr sz="2400" i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0CFF9A3-DCB1-5F4D-AFC8-FEE11523ED6B}" type="datetimeFigureOut">
              <a:rPr lang="en-US" smtClean="0"/>
              <a:pPr/>
              <a:t>7/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0800" y="547200"/>
            <a:ext cx="1152000" cy="822240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2362" y="1728845"/>
            <a:ext cx="180000" cy="90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dirty="0"/>
              <a:t> </a:t>
            </a: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6356350"/>
            <a:ext cx="364724" cy="365125"/>
          </a:xfrm>
          <a:solidFill>
            <a:schemeClr val="accent2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7509ED-1356-7C41-9915-775EDECC56C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9783" y="6356350"/>
            <a:ext cx="954033" cy="36512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CFF9A3-DCB1-5F4D-AFC8-FEE11523ED6B}" type="datetimeFigureOut">
              <a:rPr lang="en-US" smtClean="0"/>
              <a:t>7/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7509ED-1356-7C41-9915-775EDECC56C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2362" y="577906"/>
            <a:ext cx="180000" cy="90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dirty="0"/>
              <a:t> 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cle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02848" y="2800350"/>
            <a:ext cx="5417167" cy="1762125"/>
          </a:xfrm>
        </p:spPr>
        <p:txBody>
          <a:bodyPr anchor="ctr" anchorCtr="0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02848" y="4589463"/>
            <a:ext cx="5417168" cy="1500187"/>
          </a:xfrm>
        </p:spPr>
        <p:txBody>
          <a:bodyPr/>
          <a:lstStyle>
            <a:lvl1pPr marL="0" indent="0">
              <a:buNone/>
              <a:defRPr sz="2400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0CFF9A3-DCB1-5F4D-AFC8-FEE11523ED6B}" type="datetimeFigureOut">
              <a:rPr lang="en-US" smtClean="0"/>
              <a:pPr/>
              <a:t>7/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202848" y="6356350"/>
            <a:ext cx="4320000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7509ED-1356-7C41-9915-775EDECC56C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12012000" y="2781412"/>
            <a:ext cx="180000" cy="180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dirty="0"/>
              <a:t> 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8400" cy="68580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02848" y="2800350"/>
            <a:ext cx="5417167" cy="1762125"/>
          </a:xfrm>
        </p:spPr>
        <p:txBody>
          <a:bodyPr anchor="ctr" anchorCtr="0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02848" y="4589463"/>
            <a:ext cx="5417168" cy="1500187"/>
          </a:xfrm>
        </p:spPr>
        <p:txBody>
          <a:bodyPr/>
          <a:lstStyle>
            <a:lvl1pPr marL="0" indent="0">
              <a:buNone/>
              <a:defRPr sz="2400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0CFF9A3-DCB1-5F4D-AFC8-FEE11523ED6B}" type="datetimeFigureOut">
              <a:rPr lang="en-US" smtClean="0"/>
              <a:pPr/>
              <a:t>7/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202848" y="6356350"/>
            <a:ext cx="4320000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12012000" y="2781412"/>
            <a:ext cx="180000" cy="180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dirty="0"/>
              <a:t> 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6356350"/>
            <a:ext cx="364724" cy="365125"/>
          </a:xfrm>
          <a:solidFill>
            <a:schemeClr val="accent2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7509ED-1356-7C41-9915-775EDECC56CA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Colour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6098400" y="0"/>
            <a:ext cx="6093600" cy="68580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8400" cy="6858000"/>
          </a:xfrm>
          <a:solidFill>
            <a:schemeClr val="bg2"/>
          </a:solidFill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02848" y="2800350"/>
            <a:ext cx="5417167" cy="1762125"/>
          </a:xfrm>
        </p:spPr>
        <p:txBody>
          <a:bodyPr anchor="ctr" anchorCtr="0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02848" y="4589463"/>
            <a:ext cx="5417168" cy="1500187"/>
          </a:xfrm>
        </p:spPr>
        <p:txBody>
          <a:bodyPr/>
          <a:lstStyle>
            <a:lvl1pPr marL="0" indent="0">
              <a:buNone/>
              <a:defRPr sz="2400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0CFF9A3-DCB1-5F4D-AFC8-FEE11523ED6B}" type="datetimeFigureOut">
              <a:rPr lang="en-US" smtClean="0"/>
              <a:pPr/>
              <a:t>7/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202848" y="6356350"/>
            <a:ext cx="432000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12012000" y="2781412"/>
            <a:ext cx="180000" cy="180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dirty="0"/>
              <a:t> 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0800" y="547200"/>
            <a:ext cx="1152000" cy="822240"/>
          </a:xfrm>
          <a:prstGeom prst="rect">
            <a:avLst/>
          </a:prstGeom>
        </p:spPr>
      </p:pic>
      <p:sp>
        <p:nvSpPr>
          <p:cNvPr id="1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6356350"/>
            <a:ext cx="364724" cy="365125"/>
          </a:xfrm>
          <a:solidFill>
            <a:schemeClr val="accent2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7509ED-1356-7C41-9915-775EDECC56C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9783" y="6356350"/>
            <a:ext cx="954033" cy="36512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+ backgrou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Background picture 16-9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l">
              <a:buNone/>
              <a:defRPr sz="2400" i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7B4B26B-0123-7B40-B6AC-9D9BB1D1385E}" type="datetimeFigureOut">
              <a:rPr lang="en-US" smtClean="0"/>
              <a:t>7/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6356350"/>
            <a:ext cx="364724" cy="365125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6FCDF26F-08C6-624C-AD04-EC7C70871C05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0800" y="547200"/>
            <a:ext cx="1152000" cy="822240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2362" y="1728845"/>
            <a:ext cx="180000" cy="90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dirty="0"/>
              <a:t> </a:t>
            </a:r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1524000" y="1369440"/>
            <a:ext cx="9144000" cy="1893446"/>
          </a:xfrm>
        </p:spPr>
        <p:txBody>
          <a:bodyPr anchor="ctr" anchorCtr="0"/>
          <a:lstStyle>
            <a:lvl1pPr algn="l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9783" y="6356350"/>
            <a:ext cx="954033" cy="36512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1" y="0"/>
            <a:ext cx="6096000" cy="68580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02848" y="2800350"/>
            <a:ext cx="5417167" cy="176212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02848" y="4589463"/>
            <a:ext cx="5417168" cy="1500187"/>
          </a:xfrm>
        </p:spPr>
        <p:txBody>
          <a:bodyPr/>
          <a:lstStyle>
            <a:lvl1pPr marL="0" indent="0">
              <a:buNone/>
              <a:defRPr sz="2400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0CFF9A3-DCB1-5F4D-AFC8-FEE11523ED6B}" type="datetimeFigureOut">
              <a:rPr lang="en-US" smtClean="0"/>
              <a:pPr/>
              <a:t>7/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202848" y="6356350"/>
            <a:ext cx="4320000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solidFill>
            <a:schemeClr val="accent2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7509ED-1356-7C41-9915-775EDECC56C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12012000" y="2781412"/>
            <a:ext cx="180000" cy="180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dirty="0"/>
              <a:t> 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CFF9A3-DCB1-5F4D-AFC8-FEE11523ED6B}" type="datetimeFigureOut">
              <a:rPr lang="en-US" smtClean="0"/>
              <a:t>7/7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7509ED-1356-7C41-9915-775EDECC56C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0" y="577906"/>
            <a:ext cx="180000" cy="90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dirty="0"/>
              <a:t> 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857375"/>
            <a:ext cx="5157787" cy="814386"/>
          </a:xfrm>
        </p:spPr>
        <p:txBody>
          <a:bodyPr anchor="ctr" anchorCtr="0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671761"/>
            <a:ext cx="5157787" cy="351790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857375"/>
            <a:ext cx="5183188" cy="814386"/>
          </a:xfrm>
        </p:spPr>
        <p:txBody>
          <a:bodyPr anchor="ctr" anchorCtr="0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671761"/>
            <a:ext cx="5183188" cy="35179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CFF9A3-DCB1-5F4D-AFC8-FEE11523ED6B}" type="datetimeFigureOut">
              <a:rPr lang="en-US" smtClean="0"/>
              <a:t>7/7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7509ED-1356-7C41-9915-775EDECC56C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838199" y="365125"/>
            <a:ext cx="97200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0" y="577906"/>
            <a:ext cx="180000" cy="90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dirty="0"/>
              <a:t> 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1825625"/>
            <a:ext cx="6172200" cy="4035425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825625"/>
            <a:ext cx="3932237" cy="4043363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CFF9A3-DCB1-5F4D-AFC8-FEE11523ED6B}" type="datetimeFigureOut">
              <a:rPr lang="en-US" smtClean="0"/>
              <a:t>7/7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7509ED-1356-7C41-9915-775EDECC56C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838199" y="365125"/>
            <a:ext cx="9720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/>
          <p:nvPr/>
        </p:nvSpPr>
        <p:spPr>
          <a:xfrm>
            <a:off x="0" y="577906"/>
            <a:ext cx="180000" cy="90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dirty="0"/>
              <a:t> </a:t>
            </a: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2057400"/>
            <a:ext cx="6172200" cy="380365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CFF9A3-DCB1-5F4D-AFC8-FEE11523ED6B}" type="datetimeFigureOut">
              <a:rPr lang="en-US" smtClean="0"/>
              <a:t>7/7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7509ED-1356-7C41-9915-775EDECC56C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838199" y="365125"/>
            <a:ext cx="9720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Rectangle 9"/>
          <p:cNvSpPr/>
          <p:nvPr/>
        </p:nvSpPr>
        <p:spPr>
          <a:xfrm>
            <a:off x="0" y="577906"/>
            <a:ext cx="180000" cy="90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dirty="0"/>
              <a:t> 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CFF9A3-DCB1-5F4D-AFC8-FEE11523ED6B}" type="datetimeFigureOut">
              <a:rPr lang="en-US" smtClean="0"/>
              <a:t>7/7/2021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7509ED-1356-7C41-9915-775EDECC56C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0" y="577906"/>
            <a:ext cx="180000" cy="90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dirty="0"/>
              <a:t> 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CFF9A3-DCB1-5F4D-AFC8-FEE11523ED6B}" type="datetimeFigureOut">
              <a:rPr lang="en-US" smtClean="0"/>
              <a:t>7/7/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7509ED-1356-7C41-9915-775EDECC56CA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l">
              <a:buNone/>
              <a:defRPr sz="2400" i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CFF9A3-DCB1-5F4D-AFC8-FEE11523ED6B}" type="datetimeFigureOut">
              <a:rPr lang="en-US" smtClean="0"/>
              <a:t>7/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7509ED-1356-7C41-9915-775EDECC56C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2362" y="1728845"/>
            <a:ext cx="180000" cy="90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dirty="0"/>
              <a:t> </a:t>
            </a: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1524000" y="1369440"/>
            <a:ext cx="9144000" cy="1893446"/>
          </a:xfrm>
        </p:spPr>
        <p:txBody>
          <a:bodyPr anchor="ctr" anchorCtr="0"/>
          <a:lstStyle>
            <a:lvl1pPr algn="l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246010" y="536997"/>
            <a:ext cx="9699979" cy="512973"/>
          </a:xfrm>
        </p:spPr>
        <p:txBody>
          <a:bodyPr>
            <a:noAutofit/>
          </a:bodyPr>
          <a:lstStyle>
            <a:lvl1pPr algn="ctr">
              <a:defRPr sz="3300">
                <a:latin typeface="Nexa Bold" panose="02000000000000000000" pitchFamily="50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" name="Picture Placeholder 5"/>
          <p:cNvSpPr>
            <a:spLocks noGrp="1"/>
          </p:cNvSpPr>
          <p:nvPr userDrawn="1">
            <p:ph type="pic" sz="quarter" idx="14"/>
          </p:nvPr>
        </p:nvSpPr>
        <p:spPr>
          <a:xfrm>
            <a:off x="3785184" y="1400175"/>
            <a:ext cx="2165973" cy="3038475"/>
          </a:xfrm>
          <a:pattFill prst="pct80">
            <a:fgClr>
              <a:schemeClr val="tx2"/>
            </a:fgClr>
            <a:bgClr>
              <a:schemeClr val="bg2"/>
            </a:bgClr>
          </a:pattFill>
        </p:spPr>
        <p:txBody>
          <a:bodyPr anchor="ctr">
            <a:normAutofit/>
          </a:bodyPr>
          <a:lstStyle>
            <a:lvl1pPr algn="ctr">
              <a:defRPr sz="2000"/>
            </a:lvl1pPr>
          </a:lstStyle>
          <a:p>
            <a:endParaRPr lang="id-ID"/>
          </a:p>
        </p:txBody>
      </p:sp>
      <p:sp>
        <p:nvSpPr>
          <p:cNvPr id="13" name="Picture Placeholder 5"/>
          <p:cNvSpPr>
            <a:spLocks noGrp="1"/>
          </p:cNvSpPr>
          <p:nvPr userDrawn="1">
            <p:ph type="pic" sz="quarter" idx="15"/>
          </p:nvPr>
        </p:nvSpPr>
        <p:spPr>
          <a:xfrm>
            <a:off x="8694326" y="1400175"/>
            <a:ext cx="2165973" cy="3038475"/>
          </a:xfrm>
          <a:pattFill prst="pct80">
            <a:fgClr>
              <a:schemeClr val="tx2"/>
            </a:fgClr>
            <a:bgClr>
              <a:schemeClr val="bg2"/>
            </a:bgClr>
          </a:pattFill>
        </p:spPr>
        <p:txBody>
          <a:bodyPr anchor="ctr">
            <a:normAutofit/>
          </a:bodyPr>
          <a:lstStyle>
            <a:lvl1pPr algn="ctr">
              <a:defRPr sz="2000"/>
            </a:lvl1pPr>
          </a:lstStyle>
          <a:p>
            <a:endParaRPr lang="id-ID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1330613" y="1400175"/>
            <a:ext cx="2165973" cy="3038475"/>
          </a:xfrm>
          <a:pattFill prst="pct80">
            <a:fgClr>
              <a:schemeClr val="tx2"/>
            </a:fgClr>
            <a:bgClr>
              <a:schemeClr val="bg2"/>
            </a:bgClr>
          </a:pattFill>
        </p:spPr>
        <p:txBody>
          <a:bodyPr anchor="ctr">
            <a:normAutofit/>
          </a:bodyPr>
          <a:lstStyle>
            <a:lvl1pPr algn="ctr">
              <a:defRPr sz="2000"/>
            </a:lvl1pPr>
          </a:lstStyle>
          <a:p>
            <a:endParaRPr lang="id-ID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6239755" y="1400175"/>
            <a:ext cx="2165973" cy="3038475"/>
          </a:xfrm>
          <a:pattFill prst="pct80">
            <a:fgClr>
              <a:schemeClr val="tx2"/>
            </a:fgClr>
            <a:bgClr>
              <a:schemeClr val="bg2"/>
            </a:bgClr>
          </a:pattFill>
        </p:spPr>
        <p:txBody>
          <a:bodyPr anchor="ctr">
            <a:normAutofit/>
          </a:bodyPr>
          <a:lstStyle>
            <a:lvl1pPr algn="ctr">
              <a:defRPr sz="2000"/>
            </a:lvl1pPr>
          </a:lstStyle>
          <a:p>
            <a:endParaRPr lang="id-ID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356350"/>
            <a:ext cx="364724" cy="365125"/>
          </a:xfrm>
          <a:prstGeom prst="rect">
            <a:avLst/>
          </a:prstGeom>
          <a:solidFill>
            <a:schemeClr val="accent5"/>
          </a:solidFill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737509ED-1356-7C41-9915-775EDECC56C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2362" y="1728845"/>
            <a:ext cx="180000" cy="90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82794490"/>
      </p:ext>
    </p:extLst>
  </p:cSld>
  <p:clrMapOvr>
    <a:masterClrMapping/>
  </p:clrMapOvr>
  <p:transition spd="slow">
    <p:push dir="u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22"/>
          <p:cNvSpPr>
            <a:spLocks noGrp="1"/>
          </p:cNvSpPr>
          <p:nvPr>
            <p:ph type="pic" sz="quarter" idx="16"/>
          </p:nvPr>
        </p:nvSpPr>
        <p:spPr>
          <a:xfrm>
            <a:off x="7038447" y="1089327"/>
            <a:ext cx="3015831" cy="4695428"/>
          </a:xfrm>
          <a:custGeom>
            <a:avLst/>
            <a:gdLst>
              <a:gd name="connsiteX0" fmla="*/ 2476357 w 6030091"/>
              <a:gd name="connsiteY0" fmla="*/ 0 h 9390856"/>
              <a:gd name="connsiteX1" fmla="*/ 6030091 w 6030091"/>
              <a:gd name="connsiteY1" fmla="*/ 0 h 9390856"/>
              <a:gd name="connsiteX2" fmla="*/ 3505493 w 6030091"/>
              <a:gd name="connsiteY2" fmla="*/ 9390856 h 9390856"/>
              <a:gd name="connsiteX3" fmla="*/ 0 w 6030091"/>
              <a:gd name="connsiteY3" fmla="*/ 9390856 h 93908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30091" h="9390856">
                <a:moveTo>
                  <a:pt x="2476357" y="0"/>
                </a:moveTo>
                <a:lnTo>
                  <a:pt x="6030091" y="0"/>
                </a:lnTo>
                <a:lnTo>
                  <a:pt x="3505493" y="9390856"/>
                </a:lnTo>
                <a:lnTo>
                  <a:pt x="0" y="9390856"/>
                </a:lnTo>
                <a:close/>
              </a:path>
            </a:pathLst>
          </a:custGeom>
          <a:pattFill prst="pct80">
            <a:fgClr>
              <a:schemeClr val="tx2"/>
            </a:fgClr>
            <a:bgClr>
              <a:schemeClr val="bg2"/>
            </a:bgClr>
          </a:pattFill>
        </p:spPr>
        <p:txBody>
          <a:bodyPr wrap="square" anchor="ctr">
            <a:noAutofit/>
          </a:bodyPr>
          <a:lstStyle>
            <a:lvl1pPr algn="ctr">
              <a:defRPr sz="1200"/>
            </a:lvl1pPr>
          </a:lstStyle>
          <a:p>
            <a:endParaRPr lang="id-ID" dirty="0"/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7"/>
          </p:nvPr>
        </p:nvSpPr>
        <p:spPr>
          <a:xfrm>
            <a:off x="4728823" y="2198863"/>
            <a:ext cx="3015831" cy="4679348"/>
          </a:xfrm>
          <a:custGeom>
            <a:avLst/>
            <a:gdLst>
              <a:gd name="connsiteX0" fmla="*/ 2492437 w 6030091"/>
              <a:gd name="connsiteY0" fmla="*/ 0 h 9358696"/>
              <a:gd name="connsiteX1" fmla="*/ 6030091 w 6030091"/>
              <a:gd name="connsiteY1" fmla="*/ 0 h 9358696"/>
              <a:gd name="connsiteX2" fmla="*/ 3521573 w 6030091"/>
              <a:gd name="connsiteY2" fmla="*/ 9358696 h 9358696"/>
              <a:gd name="connsiteX3" fmla="*/ 0 w 6030091"/>
              <a:gd name="connsiteY3" fmla="*/ 9358696 h 9358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30091" h="9358696">
                <a:moveTo>
                  <a:pt x="2492437" y="0"/>
                </a:moveTo>
                <a:lnTo>
                  <a:pt x="6030091" y="0"/>
                </a:lnTo>
                <a:lnTo>
                  <a:pt x="3521573" y="9358696"/>
                </a:lnTo>
                <a:lnTo>
                  <a:pt x="0" y="9358696"/>
                </a:lnTo>
                <a:close/>
              </a:path>
            </a:pathLst>
          </a:custGeom>
          <a:pattFill prst="pct80">
            <a:fgClr>
              <a:schemeClr val="tx2"/>
            </a:fgClr>
            <a:bgClr>
              <a:schemeClr val="bg2"/>
            </a:bgClr>
          </a:pattFill>
        </p:spPr>
        <p:txBody>
          <a:bodyPr wrap="square" anchor="ctr">
            <a:noAutofit/>
          </a:bodyPr>
          <a:lstStyle>
            <a:lvl1pPr algn="ctr">
              <a:defRPr sz="1200"/>
            </a:lvl1pPr>
          </a:lstStyle>
          <a:p>
            <a:endParaRPr lang="id-ID" dirty="0"/>
          </a:p>
        </p:txBody>
      </p:sp>
      <p:sp>
        <p:nvSpPr>
          <p:cNvPr id="24" name="Picture Placeholder 23"/>
          <p:cNvSpPr>
            <a:spLocks noGrp="1"/>
          </p:cNvSpPr>
          <p:nvPr>
            <p:ph type="pic" sz="quarter" idx="18"/>
          </p:nvPr>
        </p:nvSpPr>
        <p:spPr>
          <a:xfrm>
            <a:off x="9340028" y="-20209"/>
            <a:ext cx="3015832" cy="4695428"/>
          </a:xfrm>
          <a:custGeom>
            <a:avLst/>
            <a:gdLst>
              <a:gd name="connsiteX0" fmla="*/ 2492438 w 6030092"/>
              <a:gd name="connsiteY0" fmla="*/ 0 h 9390856"/>
              <a:gd name="connsiteX1" fmla="*/ 6030092 w 6030092"/>
              <a:gd name="connsiteY1" fmla="*/ 0 h 9390856"/>
              <a:gd name="connsiteX2" fmla="*/ 3521574 w 6030092"/>
              <a:gd name="connsiteY2" fmla="*/ 9390856 h 9390856"/>
              <a:gd name="connsiteX3" fmla="*/ 0 w 6030092"/>
              <a:gd name="connsiteY3" fmla="*/ 9390856 h 93908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30092" h="9390856">
                <a:moveTo>
                  <a:pt x="2492438" y="0"/>
                </a:moveTo>
                <a:lnTo>
                  <a:pt x="6030092" y="0"/>
                </a:lnTo>
                <a:lnTo>
                  <a:pt x="3521574" y="9390856"/>
                </a:lnTo>
                <a:lnTo>
                  <a:pt x="0" y="9390856"/>
                </a:lnTo>
                <a:close/>
              </a:path>
            </a:pathLst>
          </a:custGeom>
          <a:pattFill prst="pct80">
            <a:fgClr>
              <a:schemeClr val="tx2"/>
            </a:fgClr>
            <a:bgClr>
              <a:schemeClr val="bg2"/>
            </a:bgClr>
          </a:pattFill>
        </p:spPr>
        <p:txBody>
          <a:bodyPr wrap="square" anchor="ctr">
            <a:noAutofit/>
          </a:bodyPr>
          <a:lstStyle>
            <a:lvl1pPr algn="ctr">
              <a:defRPr sz="1200"/>
            </a:lvl1pPr>
          </a:lstStyle>
          <a:p>
            <a:endParaRPr lang="id-ID" dirty="0"/>
          </a:p>
        </p:txBody>
      </p:sp>
      <p:sp>
        <p:nvSpPr>
          <p:cNvPr id="6" name="Rectangle 5"/>
          <p:cNvSpPr/>
          <p:nvPr userDrawn="1"/>
        </p:nvSpPr>
        <p:spPr>
          <a:xfrm>
            <a:off x="2362" y="1728845"/>
            <a:ext cx="180000" cy="90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dirty="0"/>
              <a:t> 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356350"/>
            <a:ext cx="364724" cy="365125"/>
          </a:xfrm>
          <a:prstGeom prst="rect">
            <a:avLst/>
          </a:prstGeom>
          <a:solidFill>
            <a:schemeClr val="accent5"/>
          </a:solidFill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737509ED-1356-7C41-9915-775EDECC56C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362" y="365125"/>
            <a:ext cx="1152000" cy="822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763259"/>
      </p:ext>
    </p:extLst>
  </p:cSld>
  <p:clrMapOvr>
    <a:masterClrMapping/>
  </p:clrMapOvr>
  <p:transition spd="slow">
    <p:push dir="u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B4B26B-0123-7B40-B6AC-9D9BB1D1385E}" type="datetimeFigureOut">
              <a:rPr lang="en-US" smtClean="0"/>
              <a:t>7/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DF26F-08C6-624C-AD04-EC7C70871C05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2362" y="577906"/>
            <a:ext cx="180000" cy="90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dirty="0"/>
              <a:t> 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+ backgrou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Background picture 16-9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369440"/>
            <a:ext cx="9144000" cy="1893446"/>
          </a:xfrm>
          <a:noFill/>
        </p:spPr>
        <p:txBody>
          <a:bodyPr anchor="ctr" anchorCtr="0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l">
              <a:buNone/>
              <a:defRPr sz="2400" i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0CFF9A3-DCB1-5F4D-AFC8-FEE11523ED6B}" type="datetimeFigureOut">
              <a:rPr lang="en-US" smtClean="0"/>
              <a:pPr/>
              <a:t>7/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6356350"/>
            <a:ext cx="364724" cy="365125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737509ED-1356-7C41-9915-775EDECC56C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0800" y="547200"/>
            <a:ext cx="1152000" cy="822240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2362" y="1728845"/>
            <a:ext cx="180000" cy="90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dirty="0"/>
              <a:t> 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9783" y="6356350"/>
            <a:ext cx="954033" cy="36512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CFF9A3-DCB1-5F4D-AFC8-FEE11523ED6B}" type="datetimeFigureOut">
              <a:rPr lang="en-US" smtClean="0"/>
              <a:t>7/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7509ED-1356-7C41-9915-775EDECC56C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2362" y="577906"/>
            <a:ext cx="180000" cy="90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dirty="0"/>
              <a:t> </a:t>
            </a: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cle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02848" y="2800350"/>
            <a:ext cx="5417167" cy="1762125"/>
          </a:xfrm>
        </p:spPr>
        <p:txBody>
          <a:bodyPr anchor="ctr" anchorCtr="0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02848" y="4589463"/>
            <a:ext cx="5417168" cy="1500187"/>
          </a:xfrm>
        </p:spPr>
        <p:txBody>
          <a:bodyPr/>
          <a:lstStyle>
            <a:lvl1pPr marL="0" indent="0">
              <a:buNone/>
              <a:defRPr sz="2400" i="1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0CFF9A3-DCB1-5F4D-AFC8-FEE11523ED6B}" type="datetimeFigureOut">
              <a:rPr lang="en-US" smtClean="0"/>
              <a:pPr/>
              <a:t>7/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202848" y="6356350"/>
            <a:ext cx="4320000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7509ED-1356-7C41-9915-775EDECC56C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12012000" y="2781412"/>
            <a:ext cx="180000" cy="180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dirty="0"/>
              <a:t> </a:t>
            </a: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8400" cy="68580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02848" y="2800350"/>
            <a:ext cx="5417167" cy="1762125"/>
          </a:xfrm>
        </p:spPr>
        <p:txBody>
          <a:bodyPr anchor="ctr" anchorCtr="0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02848" y="4589463"/>
            <a:ext cx="5417168" cy="1500187"/>
          </a:xfrm>
        </p:spPr>
        <p:txBody>
          <a:bodyPr/>
          <a:lstStyle>
            <a:lvl1pPr marL="0" indent="0">
              <a:buNone/>
              <a:defRPr sz="2400" i="1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0CFF9A3-DCB1-5F4D-AFC8-FEE11523ED6B}" type="datetimeFigureOut">
              <a:rPr lang="en-US" smtClean="0"/>
              <a:pPr/>
              <a:t>7/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202848" y="6356350"/>
            <a:ext cx="4320000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6356350"/>
            <a:ext cx="364724" cy="365125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737509ED-1356-7C41-9915-775EDECC56C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12012000" y="2781412"/>
            <a:ext cx="180000" cy="180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dirty="0"/>
              <a:t> </a:t>
            </a: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Colour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6098400" y="0"/>
            <a:ext cx="6093600" cy="6858000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8400" cy="6858000"/>
          </a:xfrm>
          <a:solidFill>
            <a:schemeClr val="bg2"/>
          </a:solidFill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02848" y="2800350"/>
            <a:ext cx="5417167" cy="1762125"/>
          </a:xfrm>
        </p:spPr>
        <p:txBody>
          <a:bodyPr anchor="ctr" anchorCtr="0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02848" y="4589463"/>
            <a:ext cx="5417168" cy="1500187"/>
          </a:xfrm>
        </p:spPr>
        <p:txBody>
          <a:bodyPr/>
          <a:lstStyle>
            <a:lvl1pPr marL="0" indent="0">
              <a:buNone/>
              <a:defRPr sz="2400" i="1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0CFF9A3-DCB1-5F4D-AFC8-FEE11523ED6B}" type="datetimeFigureOut">
              <a:rPr lang="en-US" smtClean="0"/>
              <a:pPr/>
              <a:t>7/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202848" y="6356350"/>
            <a:ext cx="4198752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12021236" y="2781412"/>
            <a:ext cx="180000" cy="180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dirty="0"/>
              <a:t> 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6356350"/>
            <a:ext cx="364724" cy="365125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737509ED-1356-7C41-9915-775EDECC56C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7491" y="373642"/>
            <a:ext cx="1152000" cy="82224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02908" y="6495628"/>
            <a:ext cx="734908" cy="28126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1" y="0"/>
            <a:ext cx="6096000" cy="6858000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02848" y="2800350"/>
            <a:ext cx="5417167" cy="1762125"/>
          </a:xfrm>
        </p:spPr>
        <p:txBody>
          <a:bodyPr anchor="ctr" anchorCtr="0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02848" y="4589463"/>
            <a:ext cx="5417168" cy="1500187"/>
          </a:xfrm>
        </p:spPr>
        <p:txBody>
          <a:bodyPr/>
          <a:lstStyle>
            <a:lvl1pPr marL="0" indent="0">
              <a:buNone/>
              <a:defRPr sz="2400" i="1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0CFF9A3-DCB1-5F4D-AFC8-FEE11523ED6B}" type="datetimeFigureOut">
              <a:rPr lang="en-US" smtClean="0"/>
              <a:pPr/>
              <a:t>7/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202848" y="6356350"/>
            <a:ext cx="4320000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737509ED-1356-7C41-9915-775EDECC56C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12012000" y="2781412"/>
            <a:ext cx="180000" cy="180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dirty="0"/>
              <a:t> </a:t>
            </a: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CFF9A3-DCB1-5F4D-AFC8-FEE11523ED6B}" type="datetimeFigureOut">
              <a:rPr lang="en-US" smtClean="0"/>
              <a:t>7/7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7509ED-1356-7C41-9915-775EDECC56C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0" y="577906"/>
            <a:ext cx="180000" cy="90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dirty="0"/>
              <a:t> </a:t>
            </a: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857375"/>
            <a:ext cx="5157787" cy="814386"/>
          </a:xfrm>
        </p:spPr>
        <p:txBody>
          <a:bodyPr anchor="ctr" anchorCtr="0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671761"/>
            <a:ext cx="5157787" cy="351790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857375"/>
            <a:ext cx="5183188" cy="814386"/>
          </a:xfrm>
        </p:spPr>
        <p:txBody>
          <a:bodyPr anchor="ctr" anchorCtr="0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671761"/>
            <a:ext cx="5183188" cy="35179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CFF9A3-DCB1-5F4D-AFC8-FEE11523ED6B}" type="datetimeFigureOut">
              <a:rPr lang="en-US" smtClean="0"/>
              <a:t>7/7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7509ED-1356-7C41-9915-775EDECC56C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838199" y="365125"/>
            <a:ext cx="97200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0" y="577906"/>
            <a:ext cx="180000" cy="90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dirty="0"/>
              <a:t> </a:t>
            </a: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1825625"/>
            <a:ext cx="6172200" cy="4035425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825625"/>
            <a:ext cx="3932237" cy="4043363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CFF9A3-DCB1-5F4D-AFC8-FEE11523ED6B}" type="datetimeFigureOut">
              <a:rPr lang="en-US" smtClean="0"/>
              <a:t>7/7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7509ED-1356-7C41-9915-775EDECC56C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838199" y="365125"/>
            <a:ext cx="9720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accent5"/>
                </a:solidFill>
              </a:rPr>
              <a:t>Click to edit Master title style</a:t>
            </a:r>
          </a:p>
        </p:txBody>
      </p:sp>
      <p:sp>
        <p:nvSpPr>
          <p:cNvPr id="11" name="Rectangle 10"/>
          <p:cNvSpPr/>
          <p:nvPr/>
        </p:nvSpPr>
        <p:spPr>
          <a:xfrm>
            <a:off x="0" y="577906"/>
            <a:ext cx="180000" cy="90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dirty="0"/>
              <a:t> </a:t>
            </a: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2057400"/>
            <a:ext cx="6172200" cy="380365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CFF9A3-DCB1-5F4D-AFC8-FEE11523ED6B}" type="datetimeFigureOut">
              <a:rPr lang="en-US" smtClean="0"/>
              <a:t>7/7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7509ED-1356-7C41-9915-775EDECC56C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838199" y="365125"/>
            <a:ext cx="9720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accent5"/>
                </a:solidFill>
              </a:rPr>
              <a:t>Click to edit Master title style</a:t>
            </a:r>
          </a:p>
        </p:txBody>
      </p:sp>
      <p:sp>
        <p:nvSpPr>
          <p:cNvPr id="10" name="Rectangle 9"/>
          <p:cNvSpPr/>
          <p:nvPr/>
        </p:nvSpPr>
        <p:spPr>
          <a:xfrm>
            <a:off x="0" y="577906"/>
            <a:ext cx="180000" cy="90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dirty="0"/>
              <a:t> 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cle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02848" y="2800350"/>
            <a:ext cx="5417167" cy="1762125"/>
          </a:xfrm>
        </p:spPr>
        <p:txBody>
          <a:bodyPr anchor="ctr" anchorCtr="0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02848" y="4589463"/>
            <a:ext cx="5417168" cy="1500187"/>
          </a:xfrm>
        </p:spPr>
        <p:txBody>
          <a:bodyPr/>
          <a:lstStyle>
            <a:lvl1pPr marL="0" indent="0">
              <a:buNone/>
              <a:defRPr sz="2400" i="1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7B4B26B-0123-7B40-B6AC-9D9BB1D1385E}" type="datetimeFigureOut">
              <a:rPr lang="en-US" smtClean="0"/>
              <a:t>7/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202848" y="6356350"/>
            <a:ext cx="4320000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DF26F-08C6-624C-AD04-EC7C70871C05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12012000" y="2781412"/>
            <a:ext cx="180000" cy="180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dirty="0"/>
              <a:t> </a:t>
            </a: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CFF9A3-DCB1-5F4D-AFC8-FEE11523ED6B}" type="datetimeFigureOut">
              <a:rPr lang="en-US" smtClean="0"/>
              <a:t>7/7/2021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7509ED-1356-7C41-9915-775EDECC56C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0" y="577906"/>
            <a:ext cx="180000" cy="90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dirty="0"/>
              <a:t> </a:t>
            </a: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CFF9A3-DCB1-5F4D-AFC8-FEE11523ED6B}" type="datetimeFigureOut">
              <a:rPr lang="en-US" smtClean="0"/>
              <a:t>7/7/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7509ED-1356-7C41-9915-775EDECC56CA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/>
            </a:lvl1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7" name="Titr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  <a:endParaRPr lang="fr-BE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455707" y="6391271"/>
            <a:ext cx="2743200" cy="365125"/>
          </a:xfrm>
          <a:prstGeom prst="rect">
            <a:avLst/>
          </a:prstGeom>
        </p:spPr>
        <p:txBody>
          <a:bodyPr anchor="ctr"/>
          <a:lstStyle>
            <a:lvl1pPr>
              <a:defRPr sz="667" b="0"/>
            </a:lvl1pPr>
          </a:lstStyle>
          <a:p>
            <a:fld id="{BB0E2BB2-BEA9-4707-93B0-76BF73FB2598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1223400" y="6391271"/>
            <a:ext cx="625549" cy="365125"/>
          </a:xfrm>
          <a:prstGeom prst="rect">
            <a:avLst/>
          </a:prstGeom>
        </p:spPr>
        <p:txBody>
          <a:bodyPr anchor="ctr"/>
          <a:lstStyle>
            <a:lvl1pPr>
              <a:defRPr sz="667" b="0"/>
            </a:lvl1pPr>
          </a:lstStyle>
          <a:p>
            <a:r>
              <a:rPr lang="de-DE">
                <a:solidFill>
                  <a:prstClr val="black"/>
                </a:solidFill>
              </a:rPr>
              <a:t>02.12.2016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853662" y="6391271"/>
            <a:ext cx="1602045" cy="365125"/>
          </a:xfrm>
          <a:prstGeom prst="rect">
            <a:avLst/>
          </a:prstGeom>
        </p:spPr>
        <p:txBody>
          <a:bodyPr anchor="ctr"/>
          <a:lstStyle>
            <a:lvl1pPr>
              <a:defRPr sz="667" b="0"/>
            </a:lvl1pPr>
          </a:lstStyle>
          <a:p>
            <a:r>
              <a:rPr lang="fr-FR">
                <a:solidFill>
                  <a:prstClr val="black"/>
                </a:solidFill>
              </a:rPr>
              <a:t>IRIS P&amp;T – Solution Pillar 2017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2016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39"/>
            <a:ext cx="10515600" cy="2852737"/>
          </a:xfrm>
        </p:spPr>
        <p:txBody>
          <a:bodyPr anchor="b"/>
          <a:lstStyle>
            <a:lvl1pPr>
              <a:defRPr sz="599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12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4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37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9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1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74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86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9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455707" y="6391271"/>
            <a:ext cx="2743200" cy="365125"/>
          </a:xfrm>
          <a:prstGeom prst="rect">
            <a:avLst/>
          </a:prstGeom>
        </p:spPr>
        <p:txBody>
          <a:bodyPr anchor="ctr"/>
          <a:lstStyle>
            <a:lvl1pPr>
              <a:defRPr sz="667" b="0"/>
            </a:lvl1pPr>
          </a:lstStyle>
          <a:p>
            <a:fld id="{BB0E2BB2-BEA9-4707-93B0-76BF73FB2598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1223400" y="6391271"/>
            <a:ext cx="625549" cy="365125"/>
          </a:xfrm>
          <a:prstGeom prst="rect">
            <a:avLst/>
          </a:prstGeom>
        </p:spPr>
        <p:txBody>
          <a:bodyPr anchor="ctr"/>
          <a:lstStyle>
            <a:lvl1pPr>
              <a:defRPr sz="667" b="0"/>
            </a:lvl1pPr>
          </a:lstStyle>
          <a:p>
            <a:r>
              <a:rPr lang="de-DE">
                <a:solidFill>
                  <a:prstClr val="black"/>
                </a:solidFill>
              </a:rPr>
              <a:t>02.12.2016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853662" y="6391271"/>
            <a:ext cx="1602045" cy="365125"/>
          </a:xfrm>
          <a:prstGeom prst="rect">
            <a:avLst/>
          </a:prstGeom>
        </p:spPr>
        <p:txBody>
          <a:bodyPr anchor="ctr"/>
          <a:lstStyle>
            <a:lvl1pPr>
              <a:defRPr sz="667" b="0"/>
            </a:lvl1pPr>
          </a:lstStyle>
          <a:p>
            <a:r>
              <a:rPr lang="fr-FR">
                <a:solidFill>
                  <a:prstClr val="black"/>
                </a:solidFill>
              </a:rPr>
              <a:t>IRIS P&amp;T – Solution Pillar 2017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701621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6" y="3"/>
          <a:ext cx="158668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" y="3"/>
                        <a:ext cx="158668" cy="1587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335360" y="400678"/>
            <a:ext cx="11225920" cy="4431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/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3455707" y="6391271"/>
            <a:ext cx="2743200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1371600" rtl="0" eaLnBrk="1" latinLnBrk="0" hangingPunct="1">
              <a:defRPr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B0E2BB2-BEA9-4707-93B0-76BF73FB2598}" type="slidenum">
              <a:rPr lang="en-US" sz="667" smtClean="0">
                <a:solidFill>
                  <a:prstClr val="black"/>
                </a:solidFill>
              </a:rPr>
              <a:pPr/>
              <a:t>‹#›</a:t>
            </a:fld>
            <a:endParaRPr lang="en-US" sz="667" dirty="0">
              <a:solidFill>
                <a:prstClr val="black"/>
              </a:solidFill>
            </a:endParaRP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1223400" y="6391271"/>
            <a:ext cx="625549" cy="365125"/>
          </a:xfrm>
          <a:prstGeom prst="rect">
            <a:avLst/>
          </a:prstGeom>
        </p:spPr>
        <p:txBody>
          <a:bodyPr anchor="ctr"/>
          <a:lstStyle>
            <a:lvl1pPr>
              <a:defRPr sz="667" b="0"/>
            </a:lvl1pPr>
          </a:lstStyle>
          <a:p>
            <a:r>
              <a:rPr lang="de-DE">
                <a:solidFill>
                  <a:prstClr val="black"/>
                </a:solidFill>
              </a:rPr>
              <a:t>02.12.2016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853662" y="6391271"/>
            <a:ext cx="1602045" cy="365125"/>
          </a:xfrm>
          <a:prstGeom prst="rect">
            <a:avLst/>
          </a:prstGeom>
        </p:spPr>
        <p:txBody>
          <a:bodyPr anchor="ctr"/>
          <a:lstStyle>
            <a:lvl1pPr>
              <a:defRPr sz="667" b="0"/>
            </a:lvl1pPr>
          </a:lstStyle>
          <a:p>
            <a:r>
              <a:rPr lang="fr-FR">
                <a:solidFill>
                  <a:prstClr val="black"/>
                </a:solidFill>
              </a:rPr>
              <a:t>IRIS P&amp;T – Solution Pillar 2017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899747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F44719-3A9B-4B8F-84C3-FA9B2F4B7764}" type="datetime1">
              <a:rPr lang="en-GB" smtClean="0">
                <a:solidFill>
                  <a:prstClr val="black"/>
                </a:solidFill>
              </a:rPr>
              <a:pPr/>
              <a:t>07/07/2021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1CEF9-05AB-4E0D-B3C5-A103F37606CF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033002" y="186268"/>
            <a:ext cx="1981197" cy="347133"/>
          </a:xfrm>
        </p:spPr>
        <p:txBody>
          <a:bodyPr/>
          <a:lstStyle>
            <a:lvl1pPr algn="r">
              <a:defRPr sz="933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Security R* Level</a:t>
            </a:r>
            <a:endParaRPr lang="en-GB"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335562" y="6454574"/>
            <a:ext cx="3870121" cy="312546"/>
          </a:xfrm>
        </p:spPr>
        <p:txBody>
          <a:bodyPr/>
          <a:lstStyle>
            <a:lvl1pPr>
              <a:defRPr sz="933" baseline="0"/>
            </a:lvl1pPr>
          </a:lstStyle>
          <a:p>
            <a:pPr lvl="0"/>
            <a:r>
              <a:rPr lang="en-US" dirty="0"/>
              <a:t>Click here to add 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41351763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l">
              <a:buNone/>
              <a:defRPr sz="2400" i="1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CFF9A3-DCB1-5F4D-AFC8-FEE11523ED6B}" type="datetimeFigureOut">
              <a:rPr lang="en-US" smtClean="0"/>
              <a:t>7/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7509ED-1356-7C41-9915-775EDECC56C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2363" y="1728845"/>
            <a:ext cx="180000" cy="90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800" dirty="0"/>
              <a:t> </a:t>
            </a: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1524000" y="1369441"/>
            <a:ext cx="9144000" cy="1893447"/>
          </a:xfrm>
        </p:spPr>
        <p:txBody>
          <a:bodyPr anchor="ctr" anchorCtr="0"/>
          <a:lstStyle>
            <a:lvl1pPr algn="l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5364215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246011" y="536998"/>
            <a:ext cx="9699979" cy="512973"/>
          </a:xfrm>
        </p:spPr>
        <p:txBody>
          <a:bodyPr>
            <a:noAutofit/>
          </a:bodyPr>
          <a:lstStyle>
            <a:lvl1pPr algn="ctr">
              <a:defRPr sz="3300">
                <a:latin typeface="Nexa Bold" panose="02000000000000000000" pitchFamily="50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" name="Picture Placeholder 5"/>
          <p:cNvSpPr>
            <a:spLocks noGrp="1"/>
          </p:cNvSpPr>
          <p:nvPr userDrawn="1">
            <p:ph type="pic" sz="quarter" idx="14"/>
          </p:nvPr>
        </p:nvSpPr>
        <p:spPr>
          <a:xfrm>
            <a:off x="3785184" y="1400176"/>
            <a:ext cx="2165973" cy="3038475"/>
          </a:xfrm>
          <a:pattFill prst="pct80">
            <a:fgClr>
              <a:schemeClr val="tx2"/>
            </a:fgClr>
            <a:bgClr>
              <a:schemeClr val="bg2"/>
            </a:bgClr>
          </a:pattFill>
        </p:spPr>
        <p:txBody>
          <a:bodyPr anchor="ctr">
            <a:normAutofit/>
          </a:bodyPr>
          <a:lstStyle>
            <a:lvl1pPr algn="ctr">
              <a:defRPr sz="2000"/>
            </a:lvl1pPr>
          </a:lstStyle>
          <a:p>
            <a:endParaRPr lang="id-ID"/>
          </a:p>
        </p:txBody>
      </p:sp>
      <p:sp>
        <p:nvSpPr>
          <p:cNvPr id="13" name="Picture Placeholder 5"/>
          <p:cNvSpPr>
            <a:spLocks noGrp="1"/>
          </p:cNvSpPr>
          <p:nvPr userDrawn="1">
            <p:ph type="pic" sz="quarter" idx="15"/>
          </p:nvPr>
        </p:nvSpPr>
        <p:spPr>
          <a:xfrm>
            <a:off x="8694327" y="1400176"/>
            <a:ext cx="2165973" cy="3038475"/>
          </a:xfrm>
          <a:pattFill prst="pct80">
            <a:fgClr>
              <a:schemeClr val="tx2"/>
            </a:fgClr>
            <a:bgClr>
              <a:schemeClr val="bg2"/>
            </a:bgClr>
          </a:pattFill>
        </p:spPr>
        <p:txBody>
          <a:bodyPr anchor="ctr">
            <a:normAutofit/>
          </a:bodyPr>
          <a:lstStyle>
            <a:lvl1pPr algn="ctr">
              <a:defRPr sz="2000"/>
            </a:lvl1pPr>
          </a:lstStyle>
          <a:p>
            <a:endParaRPr lang="id-ID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1330614" y="1400176"/>
            <a:ext cx="2165973" cy="3038475"/>
          </a:xfrm>
          <a:pattFill prst="pct80">
            <a:fgClr>
              <a:schemeClr val="tx2"/>
            </a:fgClr>
            <a:bgClr>
              <a:schemeClr val="bg2"/>
            </a:bgClr>
          </a:pattFill>
        </p:spPr>
        <p:txBody>
          <a:bodyPr anchor="ctr">
            <a:normAutofit/>
          </a:bodyPr>
          <a:lstStyle>
            <a:lvl1pPr algn="ctr">
              <a:defRPr sz="2000"/>
            </a:lvl1pPr>
          </a:lstStyle>
          <a:p>
            <a:endParaRPr lang="id-ID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6239756" y="1400176"/>
            <a:ext cx="2165973" cy="3038475"/>
          </a:xfrm>
          <a:pattFill prst="pct80">
            <a:fgClr>
              <a:schemeClr val="tx2"/>
            </a:fgClr>
            <a:bgClr>
              <a:schemeClr val="bg2"/>
            </a:bgClr>
          </a:pattFill>
        </p:spPr>
        <p:txBody>
          <a:bodyPr anchor="ctr">
            <a:normAutofit/>
          </a:bodyPr>
          <a:lstStyle>
            <a:lvl1pPr algn="ctr">
              <a:defRPr sz="2000"/>
            </a:lvl1pPr>
          </a:lstStyle>
          <a:p>
            <a:endParaRPr lang="id-ID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" y="6356351"/>
            <a:ext cx="364724" cy="365125"/>
          </a:xfrm>
          <a:prstGeom prst="rect">
            <a:avLst/>
          </a:prstGeom>
          <a:solidFill>
            <a:schemeClr val="accent5"/>
          </a:solidFill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737509ED-1356-7C41-9915-775EDECC56C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2363" y="1728845"/>
            <a:ext cx="180000" cy="90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8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34899285"/>
      </p:ext>
    </p:extLst>
  </p:cSld>
  <p:clrMapOvr>
    <a:masterClrMapping/>
  </p:clrMapOvr>
  <p:transition spd="slow">
    <p:push dir="u"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22"/>
          <p:cNvSpPr>
            <a:spLocks noGrp="1"/>
          </p:cNvSpPr>
          <p:nvPr>
            <p:ph type="pic" sz="quarter" idx="16"/>
          </p:nvPr>
        </p:nvSpPr>
        <p:spPr>
          <a:xfrm>
            <a:off x="7038449" y="1089327"/>
            <a:ext cx="3015831" cy="4695428"/>
          </a:xfrm>
          <a:custGeom>
            <a:avLst/>
            <a:gdLst>
              <a:gd name="connsiteX0" fmla="*/ 2476357 w 6030091"/>
              <a:gd name="connsiteY0" fmla="*/ 0 h 9390856"/>
              <a:gd name="connsiteX1" fmla="*/ 6030091 w 6030091"/>
              <a:gd name="connsiteY1" fmla="*/ 0 h 9390856"/>
              <a:gd name="connsiteX2" fmla="*/ 3505493 w 6030091"/>
              <a:gd name="connsiteY2" fmla="*/ 9390856 h 9390856"/>
              <a:gd name="connsiteX3" fmla="*/ 0 w 6030091"/>
              <a:gd name="connsiteY3" fmla="*/ 9390856 h 93908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30091" h="9390856">
                <a:moveTo>
                  <a:pt x="2476357" y="0"/>
                </a:moveTo>
                <a:lnTo>
                  <a:pt x="6030091" y="0"/>
                </a:lnTo>
                <a:lnTo>
                  <a:pt x="3505493" y="9390856"/>
                </a:lnTo>
                <a:lnTo>
                  <a:pt x="0" y="9390856"/>
                </a:lnTo>
                <a:close/>
              </a:path>
            </a:pathLst>
          </a:custGeom>
          <a:pattFill prst="pct80">
            <a:fgClr>
              <a:schemeClr val="tx2"/>
            </a:fgClr>
            <a:bgClr>
              <a:schemeClr val="bg2"/>
            </a:bgClr>
          </a:pattFill>
        </p:spPr>
        <p:txBody>
          <a:bodyPr wrap="square" anchor="ctr">
            <a:noAutofit/>
          </a:bodyPr>
          <a:lstStyle>
            <a:lvl1pPr algn="ctr">
              <a:defRPr sz="1200"/>
            </a:lvl1pPr>
          </a:lstStyle>
          <a:p>
            <a:endParaRPr lang="id-ID" dirty="0"/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7"/>
          </p:nvPr>
        </p:nvSpPr>
        <p:spPr>
          <a:xfrm>
            <a:off x="4728825" y="2198863"/>
            <a:ext cx="3015831" cy="4679348"/>
          </a:xfrm>
          <a:custGeom>
            <a:avLst/>
            <a:gdLst>
              <a:gd name="connsiteX0" fmla="*/ 2492437 w 6030091"/>
              <a:gd name="connsiteY0" fmla="*/ 0 h 9358696"/>
              <a:gd name="connsiteX1" fmla="*/ 6030091 w 6030091"/>
              <a:gd name="connsiteY1" fmla="*/ 0 h 9358696"/>
              <a:gd name="connsiteX2" fmla="*/ 3521573 w 6030091"/>
              <a:gd name="connsiteY2" fmla="*/ 9358696 h 9358696"/>
              <a:gd name="connsiteX3" fmla="*/ 0 w 6030091"/>
              <a:gd name="connsiteY3" fmla="*/ 9358696 h 9358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30091" h="9358696">
                <a:moveTo>
                  <a:pt x="2492437" y="0"/>
                </a:moveTo>
                <a:lnTo>
                  <a:pt x="6030091" y="0"/>
                </a:lnTo>
                <a:lnTo>
                  <a:pt x="3521573" y="9358696"/>
                </a:lnTo>
                <a:lnTo>
                  <a:pt x="0" y="9358696"/>
                </a:lnTo>
                <a:close/>
              </a:path>
            </a:pathLst>
          </a:custGeom>
          <a:pattFill prst="pct80">
            <a:fgClr>
              <a:schemeClr val="tx2"/>
            </a:fgClr>
            <a:bgClr>
              <a:schemeClr val="bg2"/>
            </a:bgClr>
          </a:pattFill>
        </p:spPr>
        <p:txBody>
          <a:bodyPr wrap="square" anchor="ctr">
            <a:noAutofit/>
          </a:bodyPr>
          <a:lstStyle>
            <a:lvl1pPr algn="ctr">
              <a:defRPr sz="1200"/>
            </a:lvl1pPr>
          </a:lstStyle>
          <a:p>
            <a:endParaRPr lang="id-ID" dirty="0"/>
          </a:p>
        </p:txBody>
      </p:sp>
      <p:sp>
        <p:nvSpPr>
          <p:cNvPr id="24" name="Picture Placeholder 23"/>
          <p:cNvSpPr>
            <a:spLocks noGrp="1"/>
          </p:cNvSpPr>
          <p:nvPr>
            <p:ph type="pic" sz="quarter" idx="18"/>
          </p:nvPr>
        </p:nvSpPr>
        <p:spPr>
          <a:xfrm>
            <a:off x="9340028" y="-20209"/>
            <a:ext cx="3015832" cy="4695428"/>
          </a:xfrm>
          <a:custGeom>
            <a:avLst/>
            <a:gdLst>
              <a:gd name="connsiteX0" fmla="*/ 2492438 w 6030092"/>
              <a:gd name="connsiteY0" fmla="*/ 0 h 9390856"/>
              <a:gd name="connsiteX1" fmla="*/ 6030092 w 6030092"/>
              <a:gd name="connsiteY1" fmla="*/ 0 h 9390856"/>
              <a:gd name="connsiteX2" fmla="*/ 3521574 w 6030092"/>
              <a:gd name="connsiteY2" fmla="*/ 9390856 h 9390856"/>
              <a:gd name="connsiteX3" fmla="*/ 0 w 6030092"/>
              <a:gd name="connsiteY3" fmla="*/ 9390856 h 93908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30092" h="9390856">
                <a:moveTo>
                  <a:pt x="2492438" y="0"/>
                </a:moveTo>
                <a:lnTo>
                  <a:pt x="6030092" y="0"/>
                </a:lnTo>
                <a:lnTo>
                  <a:pt x="3521574" y="9390856"/>
                </a:lnTo>
                <a:lnTo>
                  <a:pt x="0" y="9390856"/>
                </a:lnTo>
                <a:close/>
              </a:path>
            </a:pathLst>
          </a:custGeom>
          <a:pattFill prst="pct80">
            <a:fgClr>
              <a:schemeClr val="tx2"/>
            </a:fgClr>
            <a:bgClr>
              <a:schemeClr val="bg2"/>
            </a:bgClr>
          </a:pattFill>
        </p:spPr>
        <p:txBody>
          <a:bodyPr wrap="square" anchor="ctr">
            <a:noAutofit/>
          </a:bodyPr>
          <a:lstStyle>
            <a:lvl1pPr algn="ctr">
              <a:defRPr sz="1200"/>
            </a:lvl1pPr>
          </a:lstStyle>
          <a:p>
            <a:endParaRPr lang="id-ID" dirty="0"/>
          </a:p>
        </p:txBody>
      </p:sp>
      <p:sp>
        <p:nvSpPr>
          <p:cNvPr id="6" name="Rectangle 5"/>
          <p:cNvSpPr/>
          <p:nvPr userDrawn="1"/>
        </p:nvSpPr>
        <p:spPr>
          <a:xfrm>
            <a:off x="2363" y="1728845"/>
            <a:ext cx="180000" cy="90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800" dirty="0"/>
              <a:t> 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" y="6356351"/>
            <a:ext cx="364724" cy="365125"/>
          </a:xfrm>
          <a:prstGeom prst="rect">
            <a:avLst/>
          </a:prstGeom>
          <a:solidFill>
            <a:schemeClr val="accent5"/>
          </a:solidFill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737509ED-1356-7C41-9915-775EDECC56C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363" y="365126"/>
            <a:ext cx="1152000" cy="822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7061690"/>
      </p:ext>
    </p:extLst>
  </p:cSld>
  <p:clrMapOvr>
    <a:masterClrMapping/>
  </p:clrMapOvr>
  <p:transition spd="slow">
    <p:push dir="u"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+ backgrou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Background picture 16-9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369441"/>
            <a:ext cx="9144000" cy="1893447"/>
          </a:xfrm>
          <a:noFill/>
        </p:spPr>
        <p:txBody>
          <a:bodyPr anchor="ctr" anchorCtr="0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l">
              <a:buNone/>
              <a:defRPr sz="2400" i="1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0CFF9A3-DCB1-5F4D-AFC8-FEE11523ED6B}" type="datetimeFigureOut">
              <a:rPr lang="en-US" smtClean="0"/>
              <a:pPr/>
              <a:t>7/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" y="6356351"/>
            <a:ext cx="364724" cy="365125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737509ED-1356-7C41-9915-775EDECC56C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0800" y="547200"/>
            <a:ext cx="1152000" cy="822240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2363" y="1728845"/>
            <a:ext cx="180000" cy="90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800" dirty="0"/>
              <a:t> 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9785" y="6356351"/>
            <a:ext cx="954033" cy="365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2455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8400" cy="68580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02848" y="2800350"/>
            <a:ext cx="5417167" cy="1762125"/>
          </a:xfrm>
        </p:spPr>
        <p:txBody>
          <a:bodyPr anchor="ctr" anchorCtr="0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02848" y="4589463"/>
            <a:ext cx="5417168" cy="1500187"/>
          </a:xfrm>
        </p:spPr>
        <p:txBody>
          <a:bodyPr/>
          <a:lstStyle>
            <a:lvl1pPr marL="0" indent="0">
              <a:buNone/>
              <a:defRPr sz="2400" i="1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7B4B26B-0123-7B40-B6AC-9D9BB1D1385E}" type="datetimeFigureOut">
              <a:rPr lang="en-US" smtClean="0"/>
              <a:t>7/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202848" y="6356350"/>
            <a:ext cx="4320000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12012000" y="2781412"/>
            <a:ext cx="180000" cy="180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dirty="0"/>
              <a:t> 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6356350"/>
            <a:ext cx="364724" cy="365125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6FCDF26F-08C6-624C-AD04-EC7C70871C05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CFF9A3-DCB1-5F4D-AFC8-FEE11523ED6B}" type="datetimeFigureOut">
              <a:rPr lang="en-US" smtClean="0"/>
              <a:t>7/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7509ED-1356-7C41-9915-775EDECC56C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2363" y="577905"/>
            <a:ext cx="180000" cy="90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8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9905737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cle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02850" y="2800351"/>
            <a:ext cx="5417167" cy="1762125"/>
          </a:xfrm>
        </p:spPr>
        <p:txBody>
          <a:bodyPr anchor="ctr" anchorCtr="0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02848" y="4589464"/>
            <a:ext cx="5417168" cy="1500187"/>
          </a:xfrm>
        </p:spPr>
        <p:txBody>
          <a:bodyPr/>
          <a:lstStyle>
            <a:lvl1pPr marL="0" indent="0">
              <a:buNone/>
              <a:defRPr sz="2400" i="1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0CFF9A3-DCB1-5F4D-AFC8-FEE11523ED6B}" type="datetimeFigureOut">
              <a:rPr lang="en-US" smtClean="0"/>
              <a:pPr/>
              <a:t>7/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202848" y="6356351"/>
            <a:ext cx="4320000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7509ED-1356-7C41-9915-775EDECC56C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12012000" y="2781412"/>
            <a:ext cx="180000" cy="180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8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5866469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8400" cy="68580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02850" y="2800351"/>
            <a:ext cx="5417167" cy="1762125"/>
          </a:xfrm>
        </p:spPr>
        <p:txBody>
          <a:bodyPr anchor="ctr" anchorCtr="0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02848" y="4589464"/>
            <a:ext cx="5417168" cy="1500187"/>
          </a:xfrm>
        </p:spPr>
        <p:txBody>
          <a:bodyPr/>
          <a:lstStyle>
            <a:lvl1pPr marL="0" indent="0">
              <a:buNone/>
              <a:defRPr sz="2400" i="1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0CFF9A3-DCB1-5F4D-AFC8-FEE11523ED6B}" type="datetimeFigureOut">
              <a:rPr lang="en-US" smtClean="0"/>
              <a:pPr/>
              <a:t>7/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202848" y="6356351"/>
            <a:ext cx="4320000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" y="6356351"/>
            <a:ext cx="364724" cy="365125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737509ED-1356-7C41-9915-775EDECC56C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12012000" y="2781412"/>
            <a:ext cx="180000" cy="180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8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7450502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Colour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6098400" y="0"/>
            <a:ext cx="6093600" cy="6858000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180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8400" cy="6858000"/>
          </a:xfrm>
          <a:solidFill>
            <a:schemeClr val="bg2"/>
          </a:solidFill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02850" y="2800351"/>
            <a:ext cx="5417167" cy="1762125"/>
          </a:xfrm>
        </p:spPr>
        <p:txBody>
          <a:bodyPr anchor="ctr" anchorCtr="0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02848" y="4589464"/>
            <a:ext cx="5417168" cy="1500187"/>
          </a:xfrm>
        </p:spPr>
        <p:txBody>
          <a:bodyPr/>
          <a:lstStyle>
            <a:lvl1pPr marL="0" indent="0">
              <a:buNone/>
              <a:defRPr sz="2400" i="1">
                <a:solidFill>
                  <a:schemeClr val="bg2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0CFF9A3-DCB1-5F4D-AFC8-FEE11523ED6B}" type="datetimeFigureOut">
              <a:rPr lang="en-US" smtClean="0"/>
              <a:pPr/>
              <a:t>7/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202848" y="6356351"/>
            <a:ext cx="4198752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12021236" y="2781412"/>
            <a:ext cx="180000" cy="180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800" dirty="0"/>
              <a:t> 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" y="6356351"/>
            <a:ext cx="364724" cy="365125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737509ED-1356-7C41-9915-775EDECC56C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7491" y="373643"/>
            <a:ext cx="1152000" cy="82224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02909" y="6495628"/>
            <a:ext cx="734908" cy="281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533935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1" y="0"/>
            <a:ext cx="6096000" cy="6858000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02850" y="2800351"/>
            <a:ext cx="5417167" cy="1762125"/>
          </a:xfrm>
        </p:spPr>
        <p:txBody>
          <a:bodyPr anchor="ctr" anchorCtr="0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02848" y="4589464"/>
            <a:ext cx="5417168" cy="1500187"/>
          </a:xfrm>
        </p:spPr>
        <p:txBody>
          <a:bodyPr/>
          <a:lstStyle>
            <a:lvl1pPr marL="0" indent="0">
              <a:buNone/>
              <a:defRPr sz="2400" i="1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0CFF9A3-DCB1-5F4D-AFC8-FEE11523ED6B}" type="datetimeFigureOut">
              <a:rPr lang="en-US" smtClean="0"/>
              <a:pPr/>
              <a:t>7/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202848" y="6356351"/>
            <a:ext cx="4320000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737509ED-1356-7C41-9915-775EDECC56C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12012000" y="2781412"/>
            <a:ext cx="180000" cy="180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8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3596204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CFF9A3-DCB1-5F4D-AFC8-FEE11523ED6B}" type="datetimeFigureOut">
              <a:rPr lang="en-US" smtClean="0"/>
              <a:t>7/7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7509ED-1356-7C41-9915-775EDECC56C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0" y="577905"/>
            <a:ext cx="180000" cy="90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8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6219450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857375"/>
            <a:ext cx="5157787" cy="814387"/>
          </a:xfrm>
        </p:spPr>
        <p:txBody>
          <a:bodyPr anchor="ctr" anchorCtr="0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671762"/>
            <a:ext cx="5157787" cy="351790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857375"/>
            <a:ext cx="5183188" cy="814387"/>
          </a:xfrm>
        </p:spPr>
        <p:txBody>
          <a:bodyPr anchor="ctr" anchorCtr="0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671762"/>
            <a:ext cx="5183188" cy="35179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CFF9A3-DCB1-5F4D-AFC8-FEE11523ED6B}" type="datetimeFigureOut">
              <a:rPr lang="en-US" smtClean="0"/>
              <a:t>7/7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7509ED-1356-7C41-9915-775EDECC56C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838199" y="365125"/>
            <a:ext cx="97200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0" y="577905"/>
            <a:ext cx="180000" cy="90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8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3741493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1825626"/>
            <a:ext cx="6172200" cy="4035425"/>
          </a:xfrm>
          <a:solidFill>
            <a:schemeClr val="bg2"/>
          </a:solidFill>
        </p:spPr>
        <p:txBody>
          <a:bodyPr anchor="ctr" anchorCtr="0"/>
          <a:lstStyle>
            <a:lvl1pPr marL="0" indent="0" algn="ctr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825625"/>
            <a:ext cx="3932237" cy="4043363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CFF9A3-DCB1-5F4D-AFC8-FEE11523ED6B}" type="datetimeFigureOut">
              <a:rPr lang="en-US" smtClean="0"/>
              <a:t>7/7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7509ED-1356-7C41-9915-775EDECC56C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838199" y="365125"/>
            <a:ext cx="9720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sz="3600" dirty="0">
                <a:solidFill>
                  <a:schemeClr val="accent5"/>
                </a:solidFill>
              </a:rPr>
              <a:t>Click to edit Master title style</a:t>
            </a:r>
          </a:p>
        </p:txBody>
      </p:sp>
      <p:sp>
        <p:nvSpPr>
          <p:cNvPr id="11" name="Rectangle 10"/>
          <p:cNvSpPr/>
          <p:nvPr/>
        </p:nvSpPr>
        <p:spPr>
          <a:xfrm>
            <a:off x="0" y="577905"/>
            <a:ext cx="180000" cy="90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8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3809554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2057400"/>
            <a:ext cx="6172200" cy="3803651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CFF9A3-DCB1-5F4D-AFC8-FEE11523ED6B}" type="datetimeFigureOut">
              <a:rPr lang="en-US" smtClean="0"/>
              <a:t>7/7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7509ED-1356-7C41-9915-775EDECC56C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838199" y="365125"/>
            <a:ext cx="9720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sz="3600" dirty="0">
                <a:solidFill>
                  <a:schemeClr val="accent5"/>
                </a:solidFill>
              </a:rPr>
              <a:t>Click to edit Master title style</a:t>
            </a:r>
          </a:p>
        </p:txBody>
      </p:sp>
      <p:sp>
        <p:nvSpPr>
          <p:cNvPr id="10" name="Rectangle 9"/>
          <p:cNvSpPr/>
          <p:nvPr/>
        </p:nvSpPr>
        <p:spPr>
          <a:xfrm>
            <a:off x="0" y="577905"/>
            <a:ext cx="180000" cy="90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8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854726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CFF9A3-DCB1-5F4D-AFC8-FEE11523ED6B}" type="datetimeFigureOut">
              <a:rPr lang="en-US" smtClean="0"/>
              <a:t>7/7/2021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7509ED-1356-7C41-9915-775EDECC56C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0" y="577905"/>
            <a:ext cx="180000" cy="90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8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20023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Colour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6098400" y="0"/>
            <a:ext cx="6093600" cy="68580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8400" cy="6858000"/>
          </a:xfrm>
          <a:solidFill>
            <a:schemeClr val="bg2"/>
          </a:solidFill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02848" y="2800350"/>
            <a:ext cx="5417167" cy="1762125"/>
          </a:xfrm>
        </p:spPr>
        <p:txBody>
          <a:bodyPr anchor="ctr" anchorCtr="0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02848" y="4589463"/>
            <a:ext cx="5417168" cy="1500187"/>
          </a:xfrm>
        </p:spPr>
        <p:txBody>
          <a:bodyPr/>
          <a:lstStyle>
            <a:lvl1pPr marL="0" indent="0">
              <a:buNone/>
              <a:defRPr sz="2400" i="1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7B4B26B-0123-7B40-B6AC-9D9BB1D1385E}" type="datetimeFigureOut">
              <a:rPr lang="en-US" smtClean="0"/>
              <a:t>7/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202848" y="6356350"/>
            <a:ext cx="432000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12012000" y="2781412"/>
            <a:ext cx="180000" cy="180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dirty="0"/>
              <a:t> 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6356350"/>
            <a:ext cx="364724" cy="365125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6FCDF26F-08C6-624C-AD04-EC7C70871C05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0800" y="547200"/>
            <a:ext cx="1152000" cy="82224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9783" y="6356351"/>
            <a:ext cx="954033" cy="36512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CFF9A3-DCB1-5F4D-AFC8-FEE11523ED6B}" type="datetimeFigureOut">
              <a:rPr lang="en-US" smtClean="0"/>
              <a:t>7/7/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7509ED-1356-7C41-9915-775EDECC56C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669658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 rot="5400000">
            <a:off x="-533044" y="1725534"/>
            <a:ext cx="2742485" cy="365220"/>
          </a:xfrm>
        </p:spPr>
        <p:txBody>
          <a:bodyPr/>
          <a:lstStyle/>
          <a:p>
            <a:fld id="{3CD61834-3102-47E4-831F-D7C865F691AA}" type="datetime1">
              <a:rPr lang="id-ID" smtClean="0"/>
              <a:t>07/07/2021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171189" y="536900"/>
            <a:ext cx="493648" cy="365125"/>
          </a:xfrm>
        </p:spPr>
        <p:txBody>
          <a:bodyPr/>
          <a:lstStyle/>
          <a:p>
            <a:fld id="{F419C37D-2403-4BEA-81CA-B64ADD66C66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3282464"/>
      </p:ext>
    </p:extLst>
  </p:cSld>
  <p:clrMapOvr>
    <a:masterClrMapping/>
  </p:clrMapOvr>
  <p:transition spd="slow">
    <p:push dir="u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1" y="0"/>
            <a:ext cx="6096000" cy="6858000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02848" y="2800350"/>
            <a:ext cx="5417167" cy="1762125"/>
          </a:xfrm>
        </p:spPr>
        <p:txBody>
          <a:bodyPr anchor="ctr" anchorCtr="0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02848" y="4589463"/>
            <a:ext cx="5417168" cy="1500187"/>
          </a:xfrm>
        </p:spPr>
        <p:txBody>
          <a:bodyPr/>
          <a:lstStyle>
            <a:lvl1pPr marL="0" indent="0">
              <a:buNone/>
              <a:defRPr sz="2400" i="1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7B4B26B-0123-7B40-B6AC-9D9BB1D1385E}" type="datetimeFigureOut">
              <a:rPr lang="en-US" smtClean="0"/>
              <a:t>7/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202848" y="6356350"/>
            <a:ext cx="4320000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6FCDF26F-08C6-624C-AD04-EC7C70871C05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12012000" y="2781412"/>
            <a:ext cx="180000" cy="180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dirty="0"/>
              <a:t> 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B4B26B-0123-7B40-B6AC-9D9BB1D1385E}" type="datetimeFigureOut">
              <a:rPr lang="en-US" smtClean="0"/>
              <a:t>7/7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DF26F-08C6-624C-AD04-EC7C70871C05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0" y="577906"/>
            <a:ext cx="180000" cy="90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dirty="0"/>
              <a:t> 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857375"/>
            <a:ext cx="5157787" cy="814386"/>
          </a:xfrm>
        </p:spPr>
        <p:txBody>
          <a:bodyPr anchor="ctr" anchorCtr="0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671761"/>
            <a:ext cx="5157787" cy="351790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857375"/>
            <a:ext cx="5183188" cy="814386"/>
          </a:xfrm>
        </p:spPr>
        <p:txBody>
          <a:bodyPr anchor="ctr" anchorCtr="0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671761"/>
            <a:ext cx="5183188" cy="35179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B4B26B-0123-7B40-B6AC-9D9BB1D1385E}" type="datetimeFigureOut">
              <a:rPr lang="en-US" smtClean="0"/>
              <a:t>7/7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DF26F-08C6-624C-AD04-EC7C70871C05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838199" y="365125"/>
            <a:ext cx="97200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0" y="577906"/>
            <a:ext cx="180000" cy="90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dirty="0"/>
              <a:t> 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28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6.png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4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18" Type="http://schemas.openxmlformats.org/officeDocument/2006/relationships/image" Target="../media/image5.png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theme" Target="../theme/theme5.xml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55.xml"/><Relationship Id="rId19" Type="http://schemas.openxmlformats.org/officeDocument/2006/relationships/image" Target="../media/image8.png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199" y="365125"/>
            <a:ext cx="9720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97200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B4B26B-0123-7B40-B6AC-9D9BB1D1385E}" type="datetimeFigureOut">
              <a:rPr lang="en-US" smtClean="0"/>
              <a:t>7/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356350"/>
            <a:ext cx="364724" cy="365125"/>
          </a:xfrm>
          <a:prstGeom prst="rect">
            <a:avLst/>
          </a:prstGeom>
          <a:solidFill>
            <a:schemeClr val="accent4"/>
          </a:solidFill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6FCDF26F-08C6-624C-AD04-EC7C70871C05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1890" y="548640"/>
            <a:ext cx="1152000" cy="822241"/>
          </a:xfrm>
          <a:prstGeom prst="rect">
            <a:avLst/>
          </a:prstGeom>
        </p:spPr>
      </p:pic>
      <p:grpSp>
        <p:nvGrpSpPr>
          <p:cNvPr id="13" name="Group 12"/>
          <p:cNvGrpSpPr/>
          <p:nvPr/>
        </p:nvGrpSpPr>
        <p:grpSpPr>
          <a:xfrm>
            <a:off x="10402691" y="6311900"/>
            <a:ext cx="1790398" cy="501650"/>
            <a:chOff x="10401602" y="6356350"/>
            <a:chExt cx="1790398" cy="501650"/>
          </a:xfrm>
        </p:grpSpPr>
        <p:sp>
          <p:nvSpPr>
            <p:cNvPr id="14" name="Rectangle 13"/>
            <p:cNvSpPr/>
            <p:nvPr/>
          </p:nvSpPr>
          <p:spPr>
            <a:xfrm>
              <a:off x="10401602" y="6356350"/>
              <a:ext cx="1790398" cy="5016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 dirty="0"/>
            </a:p>
          </p:txBody>
        </p:sp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56759" y="6422088"/>
              <a:ext cx="880082" cy="3701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53150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accent4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199" y="365125"/>
            <a:ext cx="9720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97200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CFF9A3-DCB1-5F4D-AFC8-FEE11523ED6B}" type="datetimeFigureOut">
              <a:rPr lang="en-US" smtClean="0"/>
              <a:t>7/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356350"/>
            <a:ext cx="364724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737509ED-1356-7C41-9915-775EDECC56C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1890" y="548640"/>
            <a:ext cx="1152000" cy="822241"/>
          </a:xfrm>
          <a:prstGeom prst="rect">
            <a:avLst/>
          </a:prstGeom>
        </p:spPr>
      </p:pic>
      <p:grpSp>
        <p:nvGrpSpPr>
          <p:cNvPr id="13" name="Group 12"/>
          <p:cNvGrpSpPr/>
          <p:nvPr/>
        </p:nvGrpSpPr>
        <p:grpSpPr>
          <a:xfrm>
            <a:off x="10401602" y="6356350"/>
            <a:ext cx="1790398" cy="501650"/>
            <a:chOff x="10401602" y="6356350"/>
            <a:chExt cx="1790398" cy="501650"/>
          </a:xfrm>
        </p:grpSpPr>
        <p:sp>
          <p:nvSpPr>
            <p:cNvPr id="14" name="Rectangle 13"/>
            <p:cNvSpPr/>
            <p:nvPr/>
          </p:nvSpPr>
          <p:spPr>
            <a:xfrm>
              <a:off x="10401602" y="6356350"/>
              <a:ext cx="1790398" cy="5016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 dirty="0"/>
            </a:p>
          </p:txBody>
        </p:sp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56759" y="6422088"/>
              <a:ext cx="880082" cy="3701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291489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accent4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6759" y="6313130"/>
            <a:ext cx="847575" cy="54487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199" y="365125"/>
            <a:ext cx="9720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97200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CFF9A3-DCB1-5F4D-AFC8-FEE11523ED6B}" type="datetimeFigureOut">
              <a:rPr lang="en-US" smtClean="0"/>
              <a:t>7/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356350"/>
            <a:ext cx="364724" cy="365125"/>
          </a:xfrm>
          <a:prstGeom prst="rect">
            <a:avLst/>
          </a:prstGeom>
          <a:solidFill>
            <a:schemeClr val="accent5"/>
          </a:solidFill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737509ED-1356-7C41-9915-775EDECC56C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6759" y="365125"/>
            <a:ext cx="1152000" cy="822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3006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868" r:id="rId2"/>
    <p:sldLayoutId id="2147483875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accent5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5361" y="290579"/>
            <a:ext cx="10720507" cy="743033"/>
          </a:xfrm>
          <a:prstGeom prst="rect">
            <a:avLst/>
          </a:prstGeom>
        </p:spPr>
        <p:txBody>
          <a:bodyPr vert="horz" lIns="137160" tIns="68580" rIns="137160" bIns="68580" rtlCol="0" anchor="ctr">
            <a:normAutofit/>
          </a:bodyPr>
          <a:lstStyle/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5414" y="1509083"/>
            <a:ext cx="10720507" cy="4603094"/>
          </a:xfrm>
          <a:prstGeom prst="rect">
            <a:avLst/>
          </a:prstGeom>
        </p:spPr>
        <p:txBody>
          <a:bodyPr vert="horz" lIns="137160" tIns="68580" rIns="137160" bIns="6858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66456"/>
            <a:ext cx="1223400" cy="87039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2545" y="6353062"/>
            <a:ext cx="1095379" cy="46066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455707" y="6391271"/>
            <a:ext cx="2743200" cy="365125"/>
          </a:xfrm>
          <a:prstGeom prst="rect">
            <a:avLst/>
          </a:prstGeom>
        </p:spPr>
        <p:txBody>
          <a:bodyPr anchor="ctr"/>
          <a:lstStyle>
            <a:lvl1pPr>
              <a:defRPr sz="667" b="0"/>
            </a:lvl1pPr>
          </a:lstStyle>
          <a:p>
            <a:pPr defTabSz="914309"/>
            <a:fld id="{BB0E2BB2-BEA9-4707-93B0-76BF73FB2598}" type="slidenum">
              <a:rPr lang="en-US" smtClean="0">
                <a:solidFill>
                  <a:prstClr val="black"/>
                </a:solidFill>
              </a:rPr>
              <a:pPr defTabSz="914309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1223400" y="6391271"/>
            <a:ext cx="625549" cy="365125"/>
          </a:xfrm>
          <a:prstGeom prst="rect">
            <a:avLst/>
          </a:prstGeom>
        </p:spPr>
        <p:txBody>
          <a:bodyPr anchor="ctr"/>
          <a:lstStyle>
            <a:lvl1pPr>
              <a:defRPr sz="667" b="0"/>
            </a:lvl1pPr>
          </a:lstStyle>
          <a:p>
            <a:pPr defTabSz="914309"/>
            <a:r>
              <a:rPr lang="de-DE">
                <a:solidFill>
                  <a:prstClr val="black"/>
                </a:solidFill>
              </a:rPr>
              <a:t>02.12.2016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853662" y="6391271"/>
            <a:ext cx="1602045" cy="365125"/>
          </a:xfrm>
          <a:prstGeom prst="rect">
            <a:avLst/>
          </a:prstGeom>
        </p:spPr>
        <p:txBody>
          <a:bodyPr anchor="ctr"/>
          <a:lstStyle>
            <a:lvl1pPr>
              <a:defRPr sz="667" b="0"/>
            </a:lvl1pPr>
          </a:lstStyle>
          <a:p>
            <a:pPr defTabSz="914309"/>
            <a:r>
              <a:rPr lang="fr-FR">
                <a:solidFill>
                  <a:prstClr val="black"/>
                </a:solidFill>
              </a:rPr>
              <a:t>IRIS P&amp;T – Solution Pillar 2017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74212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0" r:id="rId1"/>
    <p:sldLayoutId id="2147483871" r:id="rId2"/>
    <p:sldLayoutId id="2147483872" r:id="rId3"/>
    <p:sldLayoutId id="2147483874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218" rtl="0" eaLnBrk="1" latinLnBrk="0" hangingPunct="1">
        <a:lnSpc>
          <a:spcPct val="90000"/>
        </a:lnSpc>
        <a:spcBef>
          <a:spcPct val="0"/>
        </a:spcBef>
        <a:buNone/>
        <a:defRPr sz="3200" b="1" kern="1200" cap="none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218" rtl="0" eaLnBrk="1" latinLnBrk="0" hangingPunct="1">
        <a:lnSpc>
          <a:spcPct val="90000"/>
        </a:lnSpc>
        <a:spcBef>
          <a:spcPts val="400"/>
        </a:spcBef>
        <a:spcAft>
          <a:spcPts val="1200"/>
        </a:spcAft>
        <a:buFont typeface="Arial" panose="020B0604020202020204" pitchFamily="34" charset="0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347065" indent="-347065" algn="l" defTabSz="914218" rtl="0" eaLnBrk="1" latinLnBrk="0" hangingPunct="1">
        <a:lnSpc>
          <a:spcPct val="90000"/>
        </a:lnSpc>
        <a:spcBef>
          <a:spcPts val="400"/>
        </a:spcBef>
        <a:spcAft>
          <a:spcPts val="800"/>
        </a:spcAft>
        <a:buClr>
          <a:schemeClr val="tx2"/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592548" indent="-228554" algn="l" defTabSz="914218" rtl="0" eaLnBrk="1" latinLnBrk="0" hangingPunct="1">
        <a:lnSpc>
          <a:spcPct val="90000"/>
        </a:lnSpc>
        <a:spcBef>
          <a:spcPts val="400"/>
        </a:spcBef>
        <a:spcAft>
          <a:spcPts val="1200"/>
        </a:spcAft>
        <a:buClr>
          <a:schemeClr val="accent5"/>
        </a:buClr>
        <a:buFont typeface="Arial" panose="020B0604020202020204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599880" indent="-228554" algn="l" defTabSz="914218" rtl="0" eaLnBrk="1" latinLnBrk="0" hangingPunct="1">
        <a:lnSpc>
          <a:spcPct val="90000"/>
        </a:lnSpc>
        <a:spcBef>
          <a:spcPts val="400"/>
        </a:spcBef>
        <a:spcAft>
          <a:spcPts val="12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988" indent="-228554" algn="l" defTabSz="914218" rtl="0" eaLnBrk="1" latinLnBrk="0" hangingPunct="1">
        <a:lnSpc>
          <a:spcPct val="90000"/>
        </a:lnSpc>
        <a:spcBef>
          <a:spcPts val="400"/>
        </a:spcBef>
        <a:spcAft>
          <a:spcPts val="12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098" indent="-228554" algn="l" defTabSz="9142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6" indent="-228554" algn="l" defTabSz="9142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4" indent="-228554" algn="l" defTabSz="9142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23" indent="-228554" algn="l" defTabSz="9142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6761" y="6313130"/>
            <a:ext cx="847575" cy="5448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199" y="365125"/>
            <a:ext cx="9720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97200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CFF9A3-DCB1-5F4D-AFC8-FEE11523ED6B}" type="datetimeFigureOut">
              <a:rPr lang="en-US" smtClean="0"/>
              <a:t>7/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" y="6356351"/>
            <a:ext cx="364724" cy="365125"/>
          </a:xfrm>
          <a:prstGeom prst="rect">
            <a:avLst/>
          </a:prstGeom>
          <a:solidFill>
            <a:schemeClr val="accent5"/>
          </a:solidFill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737509ED-1356-7C41-9915-775EDECC56C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6759" y="365126"/>
            <a:ext cx="1152000" cy="822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230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81" r:id="rId5"/>
    <p:sldLayoutId id="2147483882" r:id="rId6"/>
    <p:sldLayoutId id="2147483883" r:id="rId7"/>
    <p:sldLayoutId id="2147483884" r:id="rId8"/>
    <p:sldLayoutId id="2147483885" r:id="rId9"/>
    <p:sldLayoutId id="2147483886" r:id="rId10"/>
    <p:sldLayoutId id="2147483887" r:id="rId11"/>
    <p:sldLayoutId id="2147483888" r:id="rId12"/>
    <p:sldLayoutId id="2147483889" r:id="rId13"/>
    <p:sldLayoutId id="2147483890" r:id="rId14"/>
    <p:sldLayoutId id="2147483891" r:id="rId15"/>
    <p:sldLayoutId id="2147483892" r:id="rId16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accent5"/>
          </a:solidFill>
          <a:latin typeface="+mn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emf"/><Relationship Id="rId3" Type="http://schemas.openxmlformats.org/officeDocument/2006/relationships/image" Target="../media/image30.emf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37.png"/><Relationship Id="rId11" Type="http://schemas.openxmlformats.org/officeDocument/2006/relationships/image" Target="../media/image35.png"/><Relationship Id="rId5" Type="http://schemas.openxmlformats.org/officeDocument/2006/relationships/image" Target="../media/image36.png"/><Relationship Id="rId10" Type="http://schemas.openxmlformats.org/officeDocument/2006/relationships/image" Target="../media/image34.png"/><Relationship Id="rId4" Type="http://schemas.openxmlformats.org/officeDocument/2006/relationships/image" Target="../media/image31.emf"/><Relationship Id="rId9" Type="http://schemas.openxmlformats.org/officeDocument/2006/relationships/image" Target="../media/image33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33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3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3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76.png"/><Relationship Id="rId5" Type="http://schemas.openxmlformats.org/officeDocument/2006/relationships/image" Target="../media/image77.png"/><Relationship Id="rId4" Type="http://schemas.openxmlformats.org/officeDocument/2006/relationships/image" Target="../media/image82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36.png"/><Relationship Id="rId7" Type="http://schemas.openxmlformats.org/officeDocument/2006/relationships/image" Target="../media/image33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32.emf"/><Relationship Id="rId11" Type="http://schemas.openxmlformats.org/officeDocument/2006/relationships/image" Target="../media/image31.emf"/><Relationship Id="rId5" Type="http://schemas.openxmlformats.org/officeDocument/2006/relationships/image" Target="../media/image38.png"/><Relationship Id="rId10" Type="http://schemas.openxmlformats.org/officeDocument/2006/relationships/image" Target="../media/image30.emf"/><Relationship Id="rId4" Type="http://schemas.openxmlformats.org/officeDocument/2006/relationships/image" Target="../media/image37.png"/><Relationship Id="rId9" Type="http://schemas.openxmlformats.org/officeDocument/2006/relationships/image" Target="../media/image3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3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31.xml"/><Relationship Id="rId6" Type="http://schemas.microsoft.com/office/2007/relationships/hdphoto" Target="../media/hdphoto3.wdp"/><Relationship Id="rId5" Type="http://schemas.openxmlformats.org/officeDocument/2006/relationships/image" Target="../media/image84.png"/><Relationship Id="rId4" Type="http://schemas.openxmlformats.org/officeDocument/2006/relationships/image" Target="../media/image83.png"/></Relationships>
</file>

<file path=ppt/slides/_rels/slide18.xml.rels><?xml version="1.0" encoding="UTF-8" standalone="yes"?>
<Relationships xmlns="http://schemas.openxmlformats.org/package/2006/relationships"><Relationship Id="rId8" Type="http://schemas.microsoft.com/office/2007/relationships/hdphoto" Target="../media/hdphoto6.wdp"/><Relationship Id="rId3" Type="http://schemas.microsoft.com/office/2007/relationships/hdphoto" Target="../media/hdphoto4.wdp"/><Relationship Id="rId7" Type="http://schemas.openxmlformats.org/officeDocument/2006/relationships/image" Target="../media/image88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87.png"/><Relationship Id="rId5" Type="http://schemas.microsoft.com/office/2007/relationships/hdphoto" Target="../media/hdphoto5.wdp"/><Relationship Id="rId10" Type="http://schemas.microsoft.com/office/2007/relationships/hdphoto" Target="../media/hdphoto7.wdp"/><Relationship Id="rId4" Type="http://schemas.openxmlformats.org/officeDocument/2006/relationships/image" Target="../media/image86.png"/><Relationship Id="rId9" Type="http://schemas.openxmlformats.org/officeDocument/2006/relationships/image" Target="../media/image8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91.png"/><Relationship Id="rId5" Type="http://schemas.openxmlformats.org/officeDocument/2006/relationships/hyperlink" Target="https://creativecommons.org/licenses/by-nc/3.0/" TargetMode="External"/><Relationship Id="rId4" Type="http://schemas.openxmlformats.org/officeDocument/2006/relationships/hyperlink" Target="https://www.workvalue.net/socialmedia/big-data-big-challenge-o-caso-do-voo-mh370-da-malaysian-airlines/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svg"/><Relationship Id="rId18" Type="http://schemas.openxmlformats.org/officeDocument/2006/relationships/image" Target="../media/image26.png"/><Relationship Id="rId3" Type="http://schemas.openxmlformats.org/officeDocument/2006/relationships/hyperlink" Target="https://www.workvalue.net/socialmedia/big-data-big-challenge-o-caso-do-voo-mh370-da-malaysian-airlines/" TargetMode="External"/><Relationship Id="rId21" Type="http://schemas.openxmlformats.org/officeDocument/2006/relationships/image" Target="../media/image29.svg"/><Relationship Id="rId7" Type="http://schemas.openxmlformats.org/officeDocument/2006/relationships/image" Target="../media/image15.png"/><Relationship Id="rId12" Type="http://schemas.openxmlformats.org/officeDocument/2006/relationships/image" Target="../media/image20.png"/><Relationship Id="rId17" Type="http://schemas.openxmlformats.org/officeDocument/2006/relationships/image" Target="../media/image25.sv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24.png"/><Relationship Id="rId20" Type="http://schemas.openxmlformats.org/officeDocument/2006/relationships/image" Target="../media/image28.pn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14.svg"/><Relationship Id="rId11" Type="http://schemas.openxmlformats.org/officeDocument/2006/relationships/image" Target="../media/image19.svg"/><Relationship Id="rId5" Type="http://schemas.openxmlformats.org/officeDocument/2006/relationships/image" Target="../media/image13.png"/><Relationship Id="rId15" Type="http://schemas.openxmlformats.org/officeDocument/2006/relationships/image" Target="../media/image23.svg"/><Relationship Id="rId10" Type="http://schemas.openxmlformats.org/officeDocument/2006/relationships/image" Target="../media/image18.png"/><Relationship Id="rId19" Type="http://schemas.openxmlformats.org/officeDocument/2006/relationships/image" Target="../media/image27.svg"/><Relationship Id="rId4" Type="http://schemas.openxmlformats.org/officeDocument/2006/relationships/hyperlink" Target="https://creativecommons.org/licenses/by-nc/3.0/" TargetMode="External"/><Relationship Id="rId9" Type="http://schemas.openxmlformats.org/officeDocument/2006/relationships/image" Target="../media/image17.svg"/><Relationship Id="rId14" Type="http://schemas.openxmlformats.org/officeDocument/2006/relationships/image" Target="../media/image22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orkvalue.net/socialmedia/big-data-big-challenge-o-caso-do-voo-mh370-da-malaysian-airlines/" TargetMode="External"/><Relationship Id="rId7" Type="http://schemas.openxmlformats.org/officeDocument/2006/relationships/image" Target="../media/image9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hyperlink" Target="https://creativecommons.org/licenses/by-nc/3.0/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0.emf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33.emf"/><Relationship Id="rId11" Type="http://schemas.openxmlformats.org/officeDocument/2006/relationships/image" Target="../media/image38.png"/><Relationship Id="rId5" Type="http://schemas.openxmlformats.org/officeDocument/2006/relationships/image" Target="../media/image32.emf"/><Relationship Id="rId10" Type="http://schemas.openxmlformats.org/officeDocument/2006/relationships/image" Target="../media/image37.png"/><Relationship Id="rId4" Type="http://schemas.openxmlformats.org/officeDocument/2006/relationships/image" Target="../media/image31.emf"/><Relationship Id="rId9" Type="http://schemas.openxmlformats.org/officeDocument/2006/relationships/image" Target="../media/image3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0.emf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33.emf"/><Relationship Id="rId11" Type="http://schemas.openxmlformats.org/officeDocument/2006/relationships/image" Target="../media/image38.png"/><Relationship Id="rId5" Type="http://schemas.openxmlformats.org/officeDocument/2006/relationships/image" Target="../media/image32.emf"/><Relationship Id="rId10" Type="http://schemas.openxmlformats.org/officeDocument/2006/relationships/image" Target="../media/image37.png"/><Relationship Id="rId4" Type="http://schemas.openxmlformats.org/officeDocument/2006/relationships/image" Target="../media/image31.emf"/><Relationship Id="rId9" Type="http://schemas.openxmlformats.org/officeDocument/2006/relationships/image" Target="../media/image3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13" Type="http://schemas.openxmlformats.org/officeDocument/2006/relationships/image" Target="../media/image49.png"/><Relationship Id="rId3" Type="http://schemas.openxmlformats.org/officeDocument/2006/relationships/image" Target="../media/image40.png"/><Relationship Id="rId7" Type="http://schemas.openxmlformats.org/officeDocument/2006/relationships/image" Target="../media/image44.png"/><Relationship Id="rId12" Type="http://schemas.openxmlformats.org/officeDocument/2006/relationships/image" Target="../media/image48.png"/><Relationship Id="rId2" Type="http://schemas.openxmlformats.org/officeDocument/2006/relationships/image" Target="../media/image39.png"/><Relationship Id="rId16" Type="http://schemas.openxmlformats.org/officeDocument/2006/relationships/image" Target="../media/image52.pn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43.png"/><Relationship Id="rId11" Type="http://schemas.openxmlformats.org/officeDocument/2006/relationships/image" Target="../media/image36.png"/><Relationship Id="rId5" Type="http://schemas.openxmlformats.org/officeDocument/2006/relationships/image" Target="../media/image42.png"/><Relationship Id="rId15" Type="http://schemas.openxmlformats.org/officeDocument/2006/relationships/image" Target="../media/image51.png"/><Relationship Id="rId10" Type="http://schemas.openxmlformats.org/officeDocument/2006/relationships/image" Target="../media/image47.png"/><Relationship Id="rId4" Type="http://schemas.openxmlformats.org/officeDocument/2006/relationships/image" Target="../media/image41.png"/><Relationship Id="rId9" Type="http://schemas.openxmlformats.org/officeDocument/2006/relationships/image" Target="../media/image46.png"/><Relationship Id="rId14" Type="http://schemas.openxmlformats.org/officeDocument/2006/relationships/image" Target="../media/image5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jpeg"/><Relationship Id="rId13" Type="http://schemas.openxmlformats.org/officeDocument/2006/relationships/image" Target="../media/image62.png"/><Relationship Id="rId3" Type="http://schemas.openxmlformats.org/officeDocument/2006/relationships/image" Target="../media/image53.png"/><Relationship Id="rId7" Type="http://schemas.openxmlformats.org/officeDocument/2006/relationships/image" Target="../media/image57.png"/><Relationship Id="rId12" Type="http://schemas.openxmlformats.org/officeDocument/2006/relationships/image" Target="../media/image6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56.png"/><Relationship Id="rId11" Type="http://schemas.openxmlformats.org/officeDocument/2006/relationships/image" Target="../media/image60.jpeg"/><Relationship Id="rId5" Type="http://schemas.openxmlformats.org/officeDocument/2006/relationships/image" Target="../media/image55.png"/><Relationship Id="rId10" Type="http://schemas.openxmlformats.org/officeDocument/2006/relationships/image" Target="../media/image36.png"/><Relationship Id="rId4" Type="http://schemas.openxmlformats.org/officeDocument/2006/relationships/image" Target="../media/image54.png"/><Relationship Id="rId9" Type="http://schemas.openxmlformats.org/officeDocument/2006/relationships/image" Target="../media/image5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40.png"/><Relationship Id="rId7" Type="http://schemas.openxmlformats.org/officeDocument/2006/relationships/image" Target="../media/image37.png"/><Relationship Id="rId12" Type="http://schemas.openxmlformats.org/officeDocument/2006/relationships/image" Target="../media/image52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43.png"/><Relationship Id="rId11" Type="http://schemas.openxmlformats.org/officeDocument/2006/relationships/image" Target="../media/image51.png"/><Relationship Id="rId5" Type="http://schemas.openxmlformats.org/officeDocument/2006/relationships/image" Target="../media/image42.png"/><Relationship Id="rId10" Type="http://schemas.openxmlformats.org/officeDocument/2006/relationships/image" Target="../media/image50.png"/><Relationship Id="rId4" Type="http://schemas.openxmlformats.org/officeDocument/2006/relationships/image" Target="../media/image41.png"/><Relationship Id="rId9" Type="http://schemas.openxmlformats.org/officeDocument/2006/relationships/image" Target="../media/image4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microsoft.com/office/2007/relationships/hdphoto" Target="../media/hdphoto1.wdp"/><Relationship Id="rId7" Type="http://schemas.openxmlformats.org/officeDocument/2006/relationships/image" Target="../media/image48.png"/><Relationship Id="rId12" Type="http://schemas.openxmlformats.org/officeDocument/2006/relationships/image" Target="../media/image38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66.png"/><Relationship Id="rId11" Type="http://schemas.openxmlformats.org/officeDocument/2006/relationships/image" Target="../media/image52.png"/><Relationship Id="rId5" Type="http://schemas.openxmlformats.org/officeDocument/2006/relationships/image" Target="../media/image65.png"/><Relationship Id="rId10" Type="http://schemas.openxmlformats.org/officeDocument/2006/relationships/image" Target="../media/image51.png"/><Relationship Id="rId4" Type="http://schemas.openxmlformats.org/officeDocument/2006/relationships/image" Target="../media/image64.png"/><Relationship Id="rId9" Type="http://schemas.openxmlformats.org/officeDocument/2006/relationships/image" Target="../media/image5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13" Type="http://schemas.openxmlformats.org/officeDocument/2006/relationships/image" Target="../media/image76.png"/><Relationship Id="rId3" Type="http://schemas.openxmlformats.org/officeDocument/2006/relationships/image" Target="../media/image68.emf"/><Relationship Id="rId7" Type="http://schemas.openxmlformats.org/officeDocument/2006/relationships/image" Target="../media/image72.png"/><Relationship Id="rId12" Type="http://schemas.openxmlformats.org/officeDocument/2006/relationships/image" Target="../media/image36.png"/><Relationship Id="rId2" Type="http://schemas.openxmlformats.org/officeDocument/2006/relationships/image" Target="../media/image67.emf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71.png"/><Relationship Id="rId11" Type="http://schemas.openxmlformats.org/officeDocument/2006/relationships/image" Target="../media/image75.png"/><Relationship Id="rId5" Type="http://schemas.openxmlformats.org/officeDocument/2006/relationships/image" Target="../media/image70.emf"/><Relationship Id="rId10" Type="http://schemas.microsoft.com/office/2007/relationships/hdphoto" Target="../media/hdphoto2.wdp"/><Relationship Id="rId4" Type="http://schemas.openxmlformats.org/officeDocument/2006/relationships/image" Target="../media/image69.emf"/><Relationship Id="rId9" Type="http://schemas.openxmlformats.org/officeDocument/2006/relationships/image" Target="../media/image74.png"/><Relationship Id="rId14" Type="http://schemas.openxmlformats.org/officeDocument/2006/relationships/image" Target="../media/image7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8">
            <a:extLst>
              <a:ext uri="{FF2B5EF4-FFF2-40B4-BE49-F238E27FC236}">
                <a16:creationId xmlns:a16="http://schemas.microsoft.com/office/drawing/2014/main" id="{3EDC896D-B48F-4C24-A04B-34DDD31588B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8" b="48"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104" name="Title 1">
            <a:extLst>
              <a:ext uri="{FF2B5EF4-FFF2-40B4-BE49-F238E27FC236}">
                <a16:creationId xmlns:a16="http://schemas.microsoft.com/office/drawing/2014/main" id="{817AB4C9-5319-41D5-80D9-B15559879352}"/>
              </a:ext>
            </a:extLst>
          </p:cNvPr>
          <p:cNvSpPr txBox="1">
            <a:spLocks/>
          </p:cNvSpPr>
          <p:nvPr/>
        </p:nvSpPr>
        <p:spPr>
          <a:xfrm>
            <a:off x="8494018" y="5494882"/>
            <a:ext cx="3537961" cy="147002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algn="ctr" defTabSz="1219170" rtl="0" eaLnBrk="1" latinLnBrk="0" hangingPunct="1">
              <a:lnSpc>
                <a:spcPct val="86000"/>
              </a:lnSpc>
              <a:spcBef>
                <a:spcPct val="0"/>
              </a:spcBef>
              <a:buNone/>
              <a:defRPr sz="2800" kern="800" spc="-53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GB" b="1" dirty="0">
                <a:solidFill>
                  <a:schemeClr val="bg1"/>
                </a:solidFill>
                <a:latin typeface="Nexa Bold" panose="02000000000000000000" pitchFamily="50" charset="0"/>
              </a:rPr>
              <a:t>IRIS</a:t>
            </a:r>
            <a:br>
              <a:rPr lang="en-GB" b="1" dirty="0">
                <a:solidFill>
                  <a:schemeClr val="bg1"/>
                </a:solidFill>
                <a:latin typeface="Nexa Bold" panose="02000000000000000000" pitchFamily="50" charset="0"/>
              </a:rPr>
            </a:br>
            <a:r>
              <a:rPr lang="en-GB" b="1" dirty="0">
                <a:solidFill>
                  <a:schemeClr val="bg1"/>
                </a:solidFill>
                <a:latin typeface="Nexa Bold" panose="02000000000000000000" pitchFamily="50" charset="0"/>
              </a:rPr>
              <a:t>Experts in Data Capture</a:t>
            </a:r>
          </a:p>
        </p:txBody>
      </p:sp>
      <p:sp>
        <p:nvSpPr>
          <p:cNvPr id="105" name="Text Placeholder 4">
            <a:extLst>
              <a:ext uri="{FF2B5EF4-FFF2-40B4-BE49-F238E27FC236}">
                <a16:creationId xmlns:a16="http://schemas.microsoft.com/office/drawing/2014/main" id="{8D8D6932-0223-4B22-AC37-84FB5CAE1556}"/>
              </a:ext>
            </a:extLst>
          </p:cNvPr>
          <p:cNvSpPr txBox="1">
            <a:spLocks/>
          </p:cNvSpPr>
          <p:nvPr/>
        </p:nvSpPr>
        <p:spPr>
          <a:xfrm>
            <a:off x="80010" y="5639435"/>
            <a:ext cx="7240653" cy="111569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GB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ierre Deschamps</a:t>
            </a:r>
          </a:p>
          <a:p>
            <a:pPr lvl="0">
              <a:defRPr/>
            </a:pPr>
            <a:r>
              <a:rPr lang="en-U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ales Director Integrated Solutions</a:t>
            </a:r>
          </a:p>
          <a:p>
            <a:pPr lvl="0">
              <a:defRPr/>
            </a:pPr>
            <a:r>
              <a:rPr lang="en-GB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RIS P&amp;T</a:t>
            </a:r>
            <a:endParaRPr lang="en-GB" sz="2000" b="1" dirty="0">
              <a:solidFill>
                <a:schemeClr val="bg1"/>
              </a:solidFill>
              <a:latin typeface="Open Sans" panose="020B0606030504020204" pitchFamily="34" charset="0"/>
            </a:endParaRPr>
          </a:p>
        </p:txBody>
      </p:sp>
      <p:sp>
        <p:nvSpPr>
          <p:cNvPr id="106" name="Title 1">
            <a:extLst>
              <a:ext uri="{FF2B5EF4-FFF2-40B4-BE49-F238E27FC236}">
                <a16:creationId xmlns:a16="http://schemas.microsoft.com/office/drawing/2014/main" id="{35F189B5-7EC3-420A-8292-DC56D1019D0B}"/>
              </a:ext>
            </a:extLst>
          </p:cNvPr>
          <p:cNvSpPr txBox="1">
            <a:spLocks/>
          </p:cNvSpPr>
          <p:nvPr/>
        </p:nvSpPr>
        <p:spPr>
          <a:xfrm>
            <a:off x="205740" y="103093"/>
            <a:ext cx="8448298" cy="125901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ctr" anchorCtr="0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accent5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4900" b="1" dirty="0">
                <a:solidFill>
                  <a:schemeClr val="bg1"/>
                </a:solidFill>
                <a:latin typeface="Nexa Bold" panose="02000000000000000000" pitchFamily="50" charset="0"/>
              </a:rPr>
              <a:t>Integration possibilities at IRIS</a:t>
            </a:r>
            <a:endParaRPr kumimoji="0" lang="en-GB" sz="7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uLnTx/>
              <a:uFillTx/>
              <a:latin typeface="Nexa Bold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10039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>
            <a:extLst>
              <a:ext uri="{FF2B5EF4-FFF2-40B4-BE49-F238E27FC236}">
                <a16:creationId xmlns:a16="http://schemas.microsoft.com/office/drawing/2014/main" id="{C3428D45-71A9-AC48-AAFF-BB951BBDF0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365125"/>
            <a:ext cx="9720000" cy="1325563"/>
          </a:xfrm>
        </p:spPr>
        <p:txBody>
          <a:bodyPr/>
          <a:lstStyle/>
          <a:p>
            <a:r>
              <a:rPr lang="en-US" dirty="0"/>
              <a:t>Integration | Types</a:t>
            </a:r>
          </a:p>
        </p:txBody>
      </p:sp>
      <p:grpSp>
        <p:nvGrpSpPr>
          <p:cNvPr id="31" name="Gruppieren 60">
            <a:extLst>
              <a:ext uri="{FF2B5EF4-FFF2-40B4-BE49-F238E27FC236}">
                <a16:creationId xmlns:a16="http://schemas.microsoft.com/office/drawing/2014/main" id="{5A7AE509-A1C8-4BF8-8AE3-87B6DDDD1FAB}"/>
              </a:ext>
            </a:extLst>
          </p:cNvPr>
          <p:cNvGrpSpPr/>
          <p:nvPr/>
        </p:nvGrpSpPr>
        <p:grpSpPr>
          <a:xfrm>
            <a:off x="8261598" y="1818940"/>
            <a:ext cx="3723449" cy="4533092"/>
            <a:chOff x="820268" y="2526224"/>
            <a:chExt cx="1612966" cy="1937289"/>
          </a:xfrm>
        </p:grpSpPr>
        <p:sp>
          <p:nvSpPr>
            <p:cNvPr id="33" name="Rechteck 62">
              <a:extLst>
                <a:ext uri="{FF2B5EF4-FFF2-40B4-BE49-F238E27FC236}">
                  <a16:creationId xmlns:a16="http://schemas.microsoft.com/office/drawing/2014/main" id="{19A93060-13DB-4437-9C67-5AB22D023B4D}"/>
                </a:ext>
              </a:extLst>
            </p:cNvPr>
            <p:cNvSpPr/>
            <p:nvPr/>
          </p:nvSpPr>
          <p:spPr>
            <a:xfrm>
              <a:off x="822701" y="2526224"/>
              <a:ext cx="1610533" cy="1193369"/>
            </a:xfrm>
            <a:prstGeom prst="rect">
              <a:avLst/>
            </a:prstGeom>
            <a:noFill/>
            <a:ln w="25400">
              <a:solidFill>
                <a:srgbClr val="47A8BC">
                  <a:alpha val="35000"/>
                </a:srgbClr>
              </a:solidFill>
            </a:ln>
            <a:effectLst>
              <a:outerShdw blurRad="50800" dist="50800" dir="5400000" algn="ctr" rotWithShape="0">
                <a:schemeClr val="bg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hteck 63">
              <a:extLst>
                <a:ext uri="{FF2B5EF4-FFF2-40B4-BE49-F238E27FC236}">
                  <a16:creationId xmlns:a16="http://schemas.microsoft.com/office/drawing/2014/main" id="{4BC2D5A2-FF3B-4A66-AA4E-9ED94E82849E}"/>
                </a:ext>
              </a:extLst>
            </p:cNvPr>
            <p:cNvSpPr/>
            <p:nvPr/>
          </p:nvSpPr>
          <p:spPr>
            <a:xfrm>
              <a:off x="820268" y="3719593"/>
              <a:ext cx="1610533" cy="743920"/>
            </a:xfrm>
            <a:prstGeom prst="rect">
              <a:avLst/>
            </a:prstGeom>
            <a:solidFill>
              <a:srgbClr val="47A8BC">
                <a:alpha val="35000"/>
              </a:srgbClr>
            </a:solidFill>
            <a:ln w="25400">
              <a:solidFill>
                <a:srgbClr val="47A8BC">
                  <a:alpha val="35000"/>
                </a:srgbClr>
              </a:solidFill>
            </a:ln>
            <a:effectLst>
              <a:outerShdw blurRad="50800" dist="50800" dir="5400000" algn="ctr" rotWithShape="0">
                <a:schemeClr val="bg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 dirty="0"/>
            </a:p>
            <a:p>
              <a:pPr algn="ctr"/>
              <a:r>
                <a:rPr lang="en-US" sz="2000" b="1" dirty="0"/>
                <a:t>Integrate a service</a:t>
              </a:r>
            </a:p>
            <a:p>
              <a:pPr algn="ctr"/>
              <a:endParaRPr lang="en-US" b="1" dirty="0"/>
            </a:p>
            <a:p>
              <a:pPr algn="ctr"/>
              <a:r>
                <a:rPr lang="en-US" b="1" i="1" dirty="0"/>
                <a:t>We put our solutions in the cloud and let you access it as a Service</a:t>
              </a:r>
            </a:p>
            <a:p>
              <a:pPr algn="ctr"/>
              <a:endParaRPr lang="en-US" b="1" dirty="0"/>
            </a:p>
            <a:p>
              <a:pPr algn="ctr"/>
              <a:endParaRPr lang="en-US" b="1" dirty="0"/>
            </a:p>
          </p:txBody>
        </p:sp>
      </p:grpSp>
      <p:pic>
        <p:nvPicPr>
          <p:cNvPr id="49" name="Grafik 12">
            <a:extLst>
              <a:ext uri="{FF2B5EF4-FFF2-40B4-BE49-F238E27FC236}">
                <a16:creationId xmlns:a16="http://schemas.microsoft.com/office/drawing/2014/main" id="{670DBFD1-3F8E-4DE7-A646-1AB2B184395A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</a:blip>
          <a:stretch>
            <a:fillRect/>
          </a:stretch>
        </p:blipFill>
        <p:spPr>
          <a:xfrm>
            <a:off x="8823195" y="2872747"/>
            <a:ext cx="555669" cy="555669"/>
          </a:xfrm>
          <a:prstGeom prst="rect">
            <a:avLst/>
          </a:prstGeom>
        </p:spPr>
      </p:pic>
      <p:pic>
        <p:nvPicPr>
          <p:cNvPr id="50" name="Grafik 13">
            <a:extLst>
              <a:ext uri="{FF2B5EF4-FFF2-40B4-BE49-F238E27FC236}">
                <a16:creationId xmlns:a16="http://schemas.microsoft.com/office/drawing/2014/main" id="{16600822-9F0A-45C2-B466-AEB39183DE1A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</a:blip>
          <a:stretch>
            <a:fillRect/>
          </a:stretch>
        </p:blipFill>
        <p:spPr>
          <a:xfrm>
            <a:off x="9583980" y="3027448"/>
            <a:ext cx="1539737" cy="297449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70C34BB0-CF44-4FB6-9E21-B003E22D96E0}"/>
              </a:ext>
            </a:extLst>
          </p:cNvPr>
          <p:cNvSpPr txBox="1"/>
          <p:nvPr/>
        </p:nvSpPr>
        <p:spPr>
          <a:xfrm>
            <a:off x="10939018" y="1815071"/>
            <a:ext cx="12677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b="1">
                <a:gradFill flip="none" rotWithShape="1">
                  <a:gsLst>
                    <a:gs pos="0">
                      <a:srgbClr val="00ABBD">
                        <a:tint val="66000"/>
                        <a:satMod val="160000"/>
                      </a:srgbClr>
                    </a:gs>
                    <a:gs pos="50000">
                      <a:srgbClr val="00ABBD">
                        <a:tint val="44500"/>
                        <a:satMod val="160000"/>
                      </a:srgbClr>
                    </a:gs>
                    <a:gs pos="100000">
                      <a:srgbClr val="00ABBD">
                        <a:tint val="23500"/>
                        <a:satMod val="160000"/>
                      </a:srgbClr>
                    </a:gs>
                  </a:gsLst>
                  <a:lin ang="13500000" scaled="1"/>
                  <a:tileRect/>
                </a:gradFill>
              </a:defRPr>
            </a:lvl1pPr>
          </a:lstStyle>
          <a:p>
            <a:r>
              <a:rPr lang="fr-BE" dirty="0">
                <a:solidFill>
                  <a:srgbClr val="00ABBD">
                    <a:alpha val="35000"/>
                  </a:srgbClr>
                </a:solidFill>
              </a:rPr>
              <a:t>SERVICES</a:t>
            </a:r>
            <a:endParaRPr lang="en-US" dirty="0">
              <a:solidFill>
                <a:srgbClr val="00ABBD">
                  <a:alpha val="35000"/>
                </a:srgbClr>
              </a:solidFill>
            </a:endParaRPr>
          </a:p>
        </p:txBody>
      </p:sp>
      <p:sp>
        <p:nvSpPr>
          <p:cNvPr id="23" name="Rechteck 21">
            <a:extLst>
              <a:ext uri="{FF2B5EF4-FFF2-40B4-BE49-F238E27FC236}">
                <a16:creationId xmlns:a16="http://schemas.microsoft.com/office/drawing/2014/main" id="{3F2D0329-8F4A-41FB-8A4B-857C4B33BDDC}"/>
              </a:ext>
            </a:extLst>
          </p:cNvPr>
          <p:cNvSpPr/>
          <p:nvPr/>
        </p:nvSpPr>
        <p:spPr>
          <a:xfrm>
            <a:off x="436487" y="1818940"/>
            <a:ext cx="3717833" cy="2792382"/>
          </a:xfrm>
          <a:prstGeom prst="rect">
            <a:avLst/>
          </a:prstGeom>
          <a:noFill/>
          <a:ln w="25400">
            <a:solidFill>
              <a:srgbClr val="47A8BC">
                <a:alpha val="35000"/>
              </a:srgbClr>
            </a:solidFill>
          </a:ln>
          <a:effectLst>
            <a:outerShdw blurRad="50800" dist="50800" dir="5400000" algn="ct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hteck 22">
            <a:extLst>
              <a:ext uri="{FF2B5EF4-FFF2-40B4-BE49-F238E27FC236}">
                <a16:creationId xmlns:a16="http://schemas.microsoft.com/office/drawing/2014/main" id="{50DA6665-E9C8-4F5E-8E7A-7059D1E8D236}"/>
              </a:ext>
            </a:extLst>
          </p:cNvPr>
          <p:cNvSpPr/>
          <p:nvPr/>
        </p:nvSpPr>
        <p:spPr>
          <a:xfrm>
            <a:off x="436485" y="4611322"/>
            <a:ext cx="3717833" cy="1740710"/>
          </a:xfrm>
          <a:prstGeom prst="rect">
            <a:avLst/>
          </a:prstGeom>
          <a:solidFill>
            <a:srgbClr val="47A8BC">
              <a:alpha val="35000"/>
            </a:srgbClr>
          </a:solidFill>
          <a:ln w="25400">
            <a:solidFill>
              <a:srgbClr val="47A8BC">
                <a:alpha val="35000"/>
              </a:srgbClr>
            </a:solidFill>
          </a:ln>
          <a:effectLst>
            <a:outerShdw blurRad="50800" dist="50800" dir="5400000" algn="ct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Integration of Toolkits</a:t>
            </a:r>
          </a:p>
          <a:p>
            <a:pPr algn="ctr"/>
            <a:endParaRPr lang="en-US" b="1" dirty="0"/>
          </a:p>
          <a:p>
            <a:pPr algn="ctr"/>
            <a:r>
              <a:rPr lang="en-US" b="1" i="1" dirty="0"/>
              <a:t>Integrate our technologies directly </a:t>
            </a:r>
          </a:p>
          <a:p>
            <a:pPr algn="ctr"/>
            <a:r>
              <a:rPr lang="en-US" b="1" i="1" dirty="0"/>
              <a:t>into your product</a:t>
            </a:r>
          </a:p>
          <a:p>
            <a:pPr algn="ctr"/>
            <a:endParaRPr lang="en-US" b="1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4226DD9-5F8A-41C4-B8D2-A391D5F9B497}"/>
              </a:ext>
            </a:extLst>
          </p:cNvPr>
          <p:cNvSpPr txBox="1"/>
          <p:nvPr/>
        </p:nvSpPr>
        <p:spPr>
          <a:xfrm>
            <a:off x="3032219" y="1818940"/>
            <a:ext cx="12677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b="1" dirty="0">
                <a:solidFill>
                  <a:srgbClr val="00ABBD">
                    <a:alpha val="35000"/>
                  </a:srgbClr>
                </a:solidFill>
              </a:rPr>
              <a:t>TOOLKITS</a:t>
            </a:r>
            <a:endParaRPr lang="en-US" b="1" dirty="0">
              <a:solidFill>
                <a:srgbClr val="00ABBD">
                  <a:alpha val="35000"/>
                </a:srgbClr>
              </a:solidFill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1754E716-D4F0-4344-B7B9-B449052AFE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903" y="1967549"/>
            <a:ext cx="2047875" cy="809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76066522-795B-4A5F-9809-91EE6A4B6F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301" y="2714169"/>
            <a:ext cx="2314575" cy="1019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2E42A8E2-D698-430C-807D-46C5BE8CF6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0110" y="3708925"/>
            <a:ext cx="1962150" cy="809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FB537DCA-E677-4857-9394-77813D6A61CC}"/>
              </a:ext>
            </a:extLst>
          </p:cNvPr>
          <p:cNvGrpSpPr/>
          <p:nvPr/>
        </p:nvGrpSpPr>
        <p:grpSpPr>
          <a:xfrm>
            <a:off x="4369198" y="1804388"/>
            <a:ext cx="3795176" cy="4547644"/>
            <a:chOff x="4369198" y="1804388"/>
            <a:chExt cx="3795176" cy="4547644"/>
          </a:xfrm>
        </p:grpSpPr>
        <p:grpSp>
          <p:nvGrpSpPr>
            <p:cNvPr id="32" name="Gruppieren 52">
              <a:extLst>
                <a:ext uri="{FF2B5EF4-FFF2-40B4-BE49-F238E27FC236}">
                  <a16:creationId xmlns:a16="http://schemas.microsoft.com/office/drawing/2014/main" id="{2CAF4844-A0C5-459C-A399-E58D640FA952}"/>
                </a:ext>
              </a:extLst>
            </p:cNvPr>
            <p:cNvGrpSpPr/>
            <p:nvPr/>
          </p:nvGrpSpPr>
          <p:grpSpPr>
            <a:xfrm>
              <a:off x="4369198" y="1818940"/>
              <a:ext cx="3717835" cy="4533092"/>
              <a:chOff x="838198" y="2526224"/>
              <a:chExt cx="1610534" cy="1937289"/>
            </a:xfrm>
          </p:grpSpPr>
          <p:sp>
            <p:nvSpPr>
              <p:cNvPr id="40" name="Rechteck 54">
                <a:extLst>
                  <a:ext uri="{FF2B5EF4-FFF2-40B4-BE49-F238E27FC236}">
                    <a16:creationId xmlns:a16="http://schemas.microsoft.com/office/drawing/2014/main" id="{2706C92D-DD1C-4105-84F7-5AF750B36398}"/>
                  </a:ext>
                </a:extLst>
              </p:cNvPr>
              <p:cNvSpPr/>
              <p:nvPr/>
            </p:nvSpPr>
            <p:spPr>
              <a:xfrm>
                <a:off x="838199" y="2526224"/>
                <a:ext cx="1610533" cy="1193369"/>
              </a:xfrm>
              <a:prstGeom prst="rect">
                <a:avLst/>
              </a:prstGeom>
              <a:noFill/>
              <a:ln w="25400">
                <a:solidFill>
                  <a:srgbClr val="47A8BC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" name="Rechteck 55">
                <a:extLst>
                  <a:ext uri="{FF2B5EF4-FFF2-40B4-BE49-F238E27FC236}">
                    <a16:creationId xmlns:a16="http://schemas.microsoft.com/office/drawing/2014/main" id="{D60EA1B6-422C-4C57-8AC6-385ADF16E3BA}"/>
                  </a:ext>
                </a:extLst>
              </p:cNvPr>
              <p:cNvSpPr/>
              <p:nvPr/>
            </p:nvSpPr>
            <p:spPr>
              <a:xfrm>
                <a:off x="838198" y="3719593"/>
                <a:ext cx="1610533" cy="743920"/>
              </a:xfrm>
              <a:prstGeom prst="rect">
                <a:avLst/>
              </a:prstGeom>
              <a:solidFill>
                <a:srgbClr val="47A8BC"/>
              </a:solidFill>
              <a:ln w="25400">
                <a:solidFill>
                  <a:srgbClr val="47A8BC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b="1" dirty="0"/>
              </a:p>
              <a:p>
                <a:pPr algn="ctr"/>
                <a:r>
                  <a:rPr lang="en-US" sz="2000" b="1" dirty="0"/>
                  <a:t>Bundle/White labelling</a:t>
                </a:r>
              </a:p>
              <a:p>
                <a:pPr algn="ctr"/>
                <a:endParaRPr lang="en-US" b="1" dirty="0"/>
              </a:p>
              <a:p>
                <a:pPr algn="ctr"/>
                <a:r>
                  <a:rPr lang="en-US" b="1" i="1" dirty="0"/>
                  <a:t>Let us put your name on one of our products or bundle it with your product</a:t>
                </a:r>
              </a:p>
              <a:p>
                <a:pPr algn="ctr"/>
                <a:endParaRPr lang="en-US" b="1" dirty="0"/>
              </a:p>
            </p:txBody>
          </p:sp>
        </p:grpSp>
        <p:pic>
          <p:nvPicPr>
            <p:cNvPr id="35" name="Grafik 8">
              <a:extLst>
                <a:ext uri="{FF2B5EF4-FFF2-40B4-BE49-F238E27FC236}">
                  <a16:creationId xmlns:a16="http://schemas.microsoft.com/office/drawing/2014/main" id="{9CB290C5-963E-49EE-B84A-C2FD6F2925C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803332" y="2071782"/>
              <a:ext cx="586363" cy="586363"/>
            </a:xfrm>
            <a:prstGeom prst="rect">
              <a:avLst/>
            </a:prstGeom>
          </p:spPr>
        </p:pic>
        <p:pic>
          <p:nvPicPr>
            <p:cNvPr id="36" name="Grafik 9">
              <a:extLst>
                <a:ext uri="{FF2B5EF4-FFF2-40B4-BE49-F238E27FC236}">
                  <a16:creationId xmlns:a16="http://schemas.microsoft.com/office/drawing/2014/main" id="{0896CB29-DE52-4EE5-8060-E38A5ECBCD7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484136" y="2259961"/>
              <a:ext cx="1909089" cy="231818"/>
            </a:xfrm>
            <a:prstGeom prst="rect">
              <a:avLst/>
            </a:prstGeom>
          </p:spPr>
        </p:pic>
        <p:pic>
          <p:nvPicPr>
            <p:cNvPr id="37" name="Grafik 49">
              <a:extLst>
                <a:ext uri="{FF2B5EF4-FFF2-40B4-BE49-F238E27FC236}">
                  <a16:creationId xmlns:a16="http://schemas.microsoft.com/office/drawing/2014/main" id="{9F85D56C-9FE1-4C11-86C4-D1CC142F1CA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611223" y="3429000"/>
              <a:ext cx="2021896" cy="1014991"/>
            </a:xfrm>
            <a:prstGeom prst="rect">
              <a:avLst/>
            </a:prstGeom>
          </p:spPr>
        </p:pic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40858B29-0B86-47C9-BBA0-8AAF0DD8B656}"/>
                </a:ext>
              </a:extLst>
            </p:cNvPr>
            <p:cNvSpPr txBox="1"/>
            <p:nvPr/>
          </p:nvSpPr>
          <p:spPr>
            <a:xfrm>
              <a:off x="6896673" y="1804388"/>
              <a:ext cx="126770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BE" b="1" dirty="0">
                  <a:solidFill>
                    <a:srgbClr val="00ABBD"/>
                  </a:solidFill>
                </a:rPr>
                <a:t>PRODUCTS</a:t>
              </a:r>
              <a:endParaRPr lang="en-US" b="1" dirty="0">
                <a:solidFill>
                  <a:srgbClr val="00ABBD"/>
                </a:solidFill>
              </a:endParaRPr>
            </a:p>
          </p:txBody>
        </p:sp>
        <p:pic>
          <p:nvPicPr>
            <p:cNvPr id="39" name="Picture 2">
              <a:extLst>
                <a:ext uri="{FF2B5EF4-FFF2-40B4-BE49-F238E27FC236}">
                  <a16:creationId xmlns:a16="http://schemas.microsoft.com/office/drawing/2014/main" id="{89BF0607-3292-4FBD-B6CF-20E30BA88D3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7742"/>
            <a:stretch/>
          </p:blipFill>
          <p:spPr bwMode="auto">
            <a:xfrm>
              <a:off x="4591050" y="2624138"/>
              <a:ext cx="2133600" cy="10382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455483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E5AF2977-B694-814F-83E1-FE83D8F4E46D}"/>
              </a:ext>
            </a:extLst>
          </p:cNvPr>
          <p:cNvSpPr/>
          <p:nvPr/>
        </p:nvSpPr>
        <p:spPr>
          <a:xfrm>
            <a:off x="3619693" y="738707"/>
            <a:ext cx="2113592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600" dirty="0">
                <a:solidFill>
                  <a:schemeClr val="accent5"/>
                </a:solidFill>
              </a:rPr>
              <a:t>| Features</a:t>
            </a:r>
          </a:p>
        </p:txBody>
      </p:sp>
      <p:sp>
        <p:nvSpPr>
          <p:cNvPr id="4" name="Tijdelijke aanduiding voor tekst 5">
            <a:extLst>
              <a:ext uri="{FF2B5EF4-FFF2-40B4-BE49-F238E27FC236}">
                <a16:creationId xmlns:a16="http://schemas.microsoft.com/office/drawing/2014/main" id="{36497493-BC90-48C1-9BF1-51A272320B18}"/>
              </a:ext>
            </a:extLst>
          </p:cNvPr>
          <p:cNvSpPr txBox="1">
            <a:spLocks/>
          </p:cNvSpPr>
          <p:nvPr/>
        </p:nvSpPr>
        <p:spPr>
          <a:xfrm>
            <a:off x="1065179" y="1645678"/>
            <a:ext cx="4802221" cy="478087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</a:pPr>
            <a:r>
              <a:rPr lang="en-US" sz="2400" dirty="0">
                <a:solidFill>
                  <a:srgbClr val="47A8BC"/>
                </a:solidFill>
              </a:rPr>
              <a:t>High-speed </a:t>
            </a:r>
            <a:r>
              <a:rPr lang="en-US" sz="2400" b="1" dirty="0">
                <a:solidFill>
                  <a:srgbClr val="47A8BC"/>
                </a:solidFill>
              </a:rPr>
              <a:t>scanning</a:t>
            </a:r>
            <a:r>
              <a:rPr lang="en-US" sz="2400" dirty="0">
                <a:solidFill>
                  <a:srgbClr val="47A8BC"/>
                </a:solidFill>
              </a:rPr>
              <a:t> &amp; </a:t>
            </a:r>
            <a:r>
              <a:rPr lang="en-US" sz="2400" b="1" dirty="0">
                <a:solidFill>
                  <a:srgbClr val="47A8BC"/>
                </a:solidFill>
              </a:rPr>
              <a:t>much more!</a:t>
            </a:r>
          </a:p>
          <a:p>
            <a:pPr marL="0" indent="0">
              <a:buFont typeface="Arial"/>
              <a:buNone/>
            </a:pPr>
            <a:endParaRPr lang="en-US" dirty="0">
              <a:solidFill>
                <a:srgbClr val="47A8BC"/>
              </a:solidFill>
            </a:endParaRPr>
          </a:p>
          <a:p>
            <a:r>
              <a:rPr lang="en-US" sz="2000" b="1" dirty="0">
                <a:solidFill>
                  <a:srgbClr val="47A8BC"/>
                </a:solidFill>
              </a:rPr>
              <a:t>Intuitive</a:t>
            </a:r>
            <a:r>
              <a:rPr lang="en-US" sz="2000" dirty="0"/>
              <a:t> desktop </a:t>
            </a:r>
            <a:r>
              <a:rPr lang="en-US" sz="2000" b="1" dirty="0">
                <a:solidFill>
                  <a:srgbClr val="47A8BC"/>
                </a:solidFill>
              </a:rPr>
              <a:t>scanning application</a:t>
            </a:r>
          </a:p>
          <a:p>
            <a:r>
              <a:rPr lang="en-US" sz="2000" b="1" dirty="0">
                <a:solidFill>
                  <a:srgbClr val="47A8BC"/>
                </a:solidFill>
              </a:rPr>
              <a:t>Import</a:t>
            </a:r>
            <a:r>
              <a:rPr lang="en-US" sz="2000" dirty="0">
                <a:solidFill>
                  <a:srgbClr val="47A8BC"/>
                </a:solidFill>
              </a:rPr>
              <a:t> </a:t>
            </a:r>
            <a:r>
              <a:rPr lang="en-US" sz="2000" dirty="0"/>
              <a:t>from any scanner, MFD, watched folder (without user intervention), the Cloud…</a:t>
            </a:r>
          </a:p>
          <a:p>
            <a:r>
              <a:rPr lang="en-US" sz="2000" dirty="0"/>
              <a:t>Award-winning </a:t>
            </a:r>
            <a:r>
              <a:rPr lang="en-US" sz="2000" b="1" dirty="0">
                <a:solidFill>
                  <a:srgbClr val="47A8BC"/>
                </a:solidFill>
              </a:rPr>
              <a:t>OCR</a:t>
            </a:r>
            <a:r>
              <a:rPr lang="en-US" sz="2000" dirty="0"/>
              <a:t> and </a:t>
            </a:r>
            <a:r>
              <a:rPr lang="en-US" sz="2000" b="1" dirty="0">
                <a:solidFill>
                  <a:srgbClr val="47A8BC"/>
                </a:solidFill>
              </a:rPr>
              <a:t>PDF Compression</a:t>
            </a:r>
          </a:p>
          <a:p>
            <a:r>
              <a:rPr lang="en-US" sz="2000" b="1" dirty="0">
                <a:solidFill>
                  <a:srgbClr val="47A8BC"/>
                </a:solidFill>
              </a:rPr>
              <a:t>Sort</a:t>
            </a:r>
            <a:r>
              <a:rPr lang="en-US" sz="2000" dirty="0"/>
              <a:t> documents and </a:t>
            </a:r>
            <a:r>
              <a:rPr lang="en-US" sz="2000" b="1" dirty="0">
                <a:solidFill>
                  <a:srgbClr val="47A8BC"/>
                </a:solidFill>
              </a:rPr>
              <a:t>capture</a:t>
            </a:r>
            <a:r>
              <a:rPr lang="en-US" sz="2000" dirty="0"/>
              <a:t> valuable data</a:t>
            </a:r>
          </a:p>
          <a:p>
            <a:r>
              <a:rPr lang="en-US" sz="2000" b="1" dirty="0">
                <a:solidFill>
                  <a:srgbClr val="47A8BC"/>
                </a:solidFill>
              </a:rPr>
              <a:t>Export</a:t>
            </a:r>
            <a:r>
              <a:rPr lang="en-US" sz="2000" dirty="0"/>
              <a:t> indexed and compressed files to your business application</a:t>
            </a:r>
            <a:endParaRPr lang="en-GB" sz="2000" b="1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DF8083F-6A02-4407-BB05-B5CD535A39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2609850"/>
            <a:ext cx="5905500" cy="321945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5" name="Grafik 8">
            <a:extLst>
              <a:ext uri="{FF2B5EF4-FFF2-40B4-BE49-F238E27FC236}">
                <a16:creationId xmlns:a16="http://schemas.microsoft.com/office/drawing/2014/main" id="{559C4886-C42C-4F45-802F-81CBC2D236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7044" y="794528"/>
            <a:ext cx="586363" cy="586363"/>
          </a:xfrm>
          <a:prstGeom prst="rect">
            <a:avLst/>
          </a:prstGeom>
        </p:spPr>
      </p:pic>
      <p:pic>
        <p:nvPicPr>
          <p:cNvPr id="6" name="Grafik 9">
            <a:extLst>
              <a:ext uri="{FF2B5EF4-FFF2-40B4-BE49-F238E27FC236}">
                <a16:creationId xmlns:a16="http://schemas.microsoft.com/office/drawing/2014/main" id="{1D12D8D3-DC67-4368-A6ED-71785ADCAC8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37848" y="982707"/>
            <a:ext cx="1909089" cy="231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69606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2C69B6D-730E-4731-9DB6-131A5FA209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01093" y="2220998"/>
            <a:ext cx="5771558" cy="344690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5" name="Tijdelijke aanduiding voor tekst 5">
            <a:extLst>
              <a:ext uri="{FF2B5EF4-FFF2-40B4-BE49-F238E27FC236}">
                <a16:creationId xmlns:a16="http://schemas.microsoft.com/office/drawing/2014/main" id="{659ED886-EC36-42BF-AAF7-C5A920D340E4}"/>
              </a:ext>
            </a:extLst>
          </p:cNvPr>
          <p:cNvSpPr txBox="1">
            <a:spLocks/>
          </p:cNvSpPr>
          <p:nvPr/>
        </p:nvSpPr>
        <p:spPr>
          <a:xfrm>
            <a:off x="406810" y="1685611"/>
            <a:ext cx="5584099" cy="478087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rgbClr val="47A8BC"/>
                </a:solidFill>
              </a:rPr>
              <a:t>The easiest way to create, convert, edit, protect, sign and share your documents!</a:t>
            </a:r>
          </a:p>
          <a:p>
            <a:pPr marL="0" indent="0">
              <a:buFont typeface="Arial"/>
              <a:buNone/>
            </a:pPr>
            <a:endParaRPr lang="en-US" sz="2400" dirty="0">
              <a:solidFill>
                <a:srgbClr val="47A8BC"/>
              </a:solidFill>
            </a:endParaRPr>
          </a:p>
          <a:p>
            <a:r>
              <a:rPr lang="en-US" sz="2000" b="1" dirty="0">
                <a:solidFill>
                  <a:srgbClr val="47A8BC"/>
                </a:solidFill>
              </a:rPr>
              <a:t>PDF Annotations</a:t>
            </a:r>
            <a:r>
              <a:rPr lang="en-US" sz="2000" dirty="0"/>
              <a:t>: collaborate on your PDFs thanks to a full  range of annotations. </a:t>
            </a:r>
          </a:p>
          <a:p>
            <a:r>
              <a:rPr lang="en-US" sz="2000" b="1" dirty="0">
                <a:solidFill>
                  <a:srgbClr val="47A8BC"/>
                </a:solidFill>
              </a:rPr>
              <a:t>Convert scans</a:t>
            </a:r>
            <a:r>
              <a:rPr lang="en-US" sz="2000" dirty="0"/>
              <a:t>, images and PDF files into </a:t>
            </a:r>
            <a:r>
              <a:rPr lang="en-US" sz="2000" b="1" dirty="0">
                <a:solidFill>
                  <a:srgbClr val="47A8BC"/>
                </a:solidFill>
              </a:rPr>
              <a:t>editable documents</a:t>
            </a:r>
            <a:r>
              <a:rPr lang="en-US" sz="2000" dirty="0"/>
              <a:t>. </a:t>
            </a:r>
          </a:p>
          <a:p>
            <a:r>
              <a:rPr lang="en-US" sz="2000" dirty="0"/>
              <a:t>Create, edit and merge </a:t>
            </a:r>
            <a:r>
              <a:rPr lang="en-US" sz="2000" b="1" dirty="0">
                <a:solidFill>
                  <a:srgbClr val="47A8BC"/>
                </a:solidFill>
              </a:rPr>
              <a:t>multipage PDF files</a:t>
            </a:r>
            <a:r>
              <a:rPr lang="en-US" sz="2000" dirty="0"/>
              <a:t> </a:t>
            </a:r>
          </a:p>
          <a:p>
            <a:r>
              <a:rPr lang="en-US" sz="2000" b="1" dirty="0">
                <a:solidFill>
                  <a:srgbClr val="47A8BC"/>
                </a:solidFill>
              </a:rPr>
              <a:t>Compress</a:t>
            </a:r>
            <a:r>
              <a:rPr lang="en-US" sz="2000" dirty="0"/>
              <a:t> searchable PDF files up to 10 times for optimized archiving and sharing </a:t>
            </a:r>
          </a:p>
          <a:p>
            <a:r>
              <a:rPr lang="en-US" sz="2000" dirty="0"/>
              <a:t>Access your smart documents </a:t>
            </a:r>
            <a:r>
              <a:rPr lang="en-US" sz="2000" b="1" dirty="0">
                <a:solidFill>
                  <a:srgbClr val="47A8BC"/>
                </a:solidFill>
              </a:rPr>
              <a:t>from any computer, smartphone or tablet </a:t>
            </a:r>
          </a:p>
        </p:txBody>
      </p:sp>
      <p:sp>
        <p:nvSpPr>
          <p:cNvPr id="6" name="Rechteck 2">
            <a:extLst>
              <a:ext uri="{FF2B5EF4-FFF2-40B4-BE49-F238E27FC236}">
                <a16:creationId xmlns:a16="http://schemas.microsoft.com/office/drawing/2014/main" id="{798D6C83-FDCA-4A13-A8B6-4A2EEBEBF359}"/>
              </a:ext>
            </a:extLst>
          </p:cNvPr>
          <p:cNvSpPr/>
          <p:nvPr/>
        </p:nvSpPr>
        <p:spPr>
          <a:xfrm>
            <a:off x="3619693" y="738707"/>
            <a:ext cx="2113592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600" dirty="0">
                <a:solidFill>
                  <a:schemeClr val="accent5"/>
                </a:solidFill>
              </a:rPr>
              <a:t>| Features</a:t>
            </a: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A04AAF97-0D96-4B1F-81C5-1C55EC707C4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742"/>
          <a:stretch/>
        </p:blipFill>
        <p:spPr bwMode="auto">
          <a:xfrm>
            <a:off x="817332" y="563114"/>
            <a:ext cx="2133600" cy="1038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33314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0C2296C-54BB-4CAA-8F71-EA938192AC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0517" y="2049800"/>
            <a:ext cx="6156094" cy="330248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4" name="Tijdelijke aanduiding voor tekst 5">
            <a:extLst>
              <a:ext uri="{FF2B5EF4-FFF2-40B4-BE49-F238E27FC236}">
                <a16:creationId xmlns:a16="http://schemas.microsoft.com/office/drawing/2014/main" id="{9CEEEC54-AE29-45C8-AB25-B8D42A9B0149}"/>
              </a:ext>
            </a:extLst>
          </p:cNvPr>
          <p:cNvSpPr txBox="1">
            <a:spLocks/>
          </p:cNvSpPr>
          <p:nvPr/>
        </p:nvSpPr>
        <p:spPr>
          <a:xfrm>
            <a:off x="406810" y="1685611"/>
            <a:ext cx="5584099" cy="478087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rgbClr val="47A8BC"/>
                </a:solidFill>
              </a:rPr>
              <a:t>The ultimate contact management software.</a:t>
            </a:r>
          </a:p>
          <a:p>
            <a:pPr marL="0" indent="0">
              <a:buFont typeface="Arial"/>
              <a:buNone/>
            </a:pPr>
            <a:endParaRPr lang="en-US" sz="2400" dirty="0">
              <a:solidFill>
                <a:srgbClr val="47A8BC"/>
              </a:solidFill>
            </a:endParaRPr>
          </a:p>
          <a:p>
            <a:r>
              <a:rPr lang="en-US" sz="2000" dirty="0"/>
              <a:t>Scan from your MFP, </a:t>
            </a:r>
            <a:r>
              <a:rPr lang="en-US" sz="2000" b="1" dirty="0">
                <a:solidFill>
                  <a:srgbClr val="47A8BC"/>
                </a:solidFill>
              </a:rPr>
              <a:t>Digitize &amp; Manage your Business Cards</a:t>
            </a:r>
            <a:endParaRPr lang="en-US" sz="2000" dirty="0"/>
          </a:p>
          <a:p>
            <a:r>
              <a:rPr lang="en-US" sz="2000" dirty="0"/>
              <a:t>Extracts data from </a:t>
            </a:r>
            <a:r>
              <a:rPr lang="en-US" sz="2000" b="1" dirty="0">
                <a:solidFill>
                  <a:srgbClr val="47A8BC"/>
                </a:solidFill>
              </a:rPr>
              <a:t>scanned business cards</a:t>
            </a:r>
          </a:p>
          <a:p>
            <a:r>
              <a:rPr lang="en-US" sz="2000" dirty="0"/>
              <a:t>Advanced image processing</a:t>
            </a:r>
          </a:p>
          <a:p>
            <a:r>
              <a:rPr lang="en-US" sz="2000" dirty="0"/>
              <a:t>Contact management software.</a:t>
            </a:r>
          </a:p>
          <a:p>
            <a:r>
              <a:rPr lang="en-US" sz="2000" b="1" dirty="0">
                <a:solidFill>
                  <a:srgbClr val="47A8BC"/>
                </a:solidFill>
              </a:rPr>
              <a:t>218 countries </a:t>
            </a:r>
            <a:r>
              <a:rPr lang="en-US" sz="2000" dirty="0"/>
              <a:t>recognized.</a:t>
            </a:r>
          </a:p>
          <a:p>
            <a:r>
              <a:rPr lang="en-US" sz="2000" dirty="0"/>
              <a:t>Keep all your contacts within reach </a:t>
            </a:r>
            <a:r>
              <a:rPr lang="en-US" sz="2000" b="1" dirty="0">
                <a:solidFill>
                  <a:srgbClr val="47A8BC"/>
                </a:solidFill>
              </a:rPr>
              <a:t>on the cloud</a:t>
            </a:r>
          </a:p>
          <a:p>
            <a:r>
              <a:rPr lang="en-US" sz="2000" dirty="0"/>
              <a:t>Outstanding Duplicate cards management</a:t>
            </a:r>
          </a:p>
        </p:txBody>
      </p:sp>
      <p:sp>
        <p:nvSpPr>
          <p:cNvPr id="5" name="Rechteck 2">
            <a:extLst>
              <a:ext uri="{FF2B5EF4-FFF2-40B4-BE49-F238E27FC236}">
                <a16:creationId xmlns:a16="http://schemas.microsoft.com/office/drawing/2014/main" id="{AA77BEA8-CD29-4E73-B763-CDAAED646303}"/>
              </a:ext>
            </a:extLst>
          </p:cNvPr>
          <p:cNvSpPr/>
          <p:nvPr/>
        </p:nvSpPr>
        <p:spPr>
          <a:xfrm>
            <a:off x="3619693" y="738707"/>
            <a:ext cx="2113592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600" dirty="0">
                <a:solidFill>
                  <a:schemeClr val="accent5"/>
                </a:solidFill>
              </a:rPr>
              <a:t>| Features</a:t>
            </a:r>
          </a:p>
        </p:txBody>
      </p:sp>
      <p:pic>
        <p:nvPicPr>
          <p:cNvPr id="6" name="Grafik 49">
            <a:extLst>
              <a:ext uri="{FF2B5EF4-FFF2-40B4-BE49-F238E27FC236}">
                <a16:creationId xmlns:a16="http://schemas.microsoft.com/office/drawing/2014/main" id="{924E8574-86A3-4964-AB93-C0602DC684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0423" y="554376"/>
            <a:ext cx="2021896" cy="1014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06993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E5AF2977-B694-814F-83E1-FE83D8F4E46D}"/>
              </a:ext>
            </a:extLst>
          </p:cNvPr>
          <p:cNvSpPr/>
          <p:nvPr/>
        </p:nvSpPr>
        <p:spPr>
          <a:xfrm>
            <a:off x="1065178" y="738707"/>
            <a:ext cx="748839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600" dirty="0">
                <a:solidFill>
                  <a:schemeClr val="accent5"/>
                </a:solidFill>
              </a:rPr>
              <a:t>Products | Technical details and Pricing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1EEA7AC0-2FE9-4D25-BAC7-1B46427F31F2}"/>
              </a:ext>
            </a:extLst>
          </p:cNvPr>
          <p:cNvGraphicFramePr>
            <a:graphicFrameLocks noGrp="1"/>
          </p:cNvGraphicFramePr>
          <p:nvPr/>
        </p:nvGraphicFramePr>
        <p:xfrm>
          <a:off x="1065178" y="2244000"/>
          <a:ext cx="9132921" cy="294568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518434">
                  <a:extLst>
                    <a:ext uri="{9D8B030D-6E8A-4147-A177-3AD203B41FA5}">
                      <a16:colId xmlns:a16="http://schemas.microsoft.com/office/drawing/2014/main" val="269740705"/>
                    </a:ext>
                  </a:extLst>
                </a:gridCol>
                <a:gridCol w="1936733">
                  <a:extLst>
                    <a:ext uri="{9D8B030D-6E8A-4147-A177-3AD203B41FA5}">
                      <a16:colId xmlns:a16="http://schemas.microsoft.com/office/drawing/2014/main" val="2843106790"/>
                    </a:ext>
                  </a:extLst>
                </a:gridCol>
                <a:gridCol w="1838877">
                  <a:extLst>
                    <a:ext uri="{9D8B030D-6E8A-4147-A177-3AD203B41FA5}">
                      <a16:colId xmlns:a16="http://schemas.microsoft.com/office/drawing/2014/main" val="1380345009"/>
                    </a:ext>
                  </a:extLst>
                </a:gridCol>
                <a:gridCol w="1838877">
                  <a:extLst>
                    <a:ext uri="{9D8B030D-6E8A-4147-A177-3AD203B41FA5}">
                      <a16:colId xmlns:a16="http://schemas.microsoft.com/office/drawing/2014/main" val="2340645150"/>
                    </a:ext>
                  </a:extLst>
                </a:gridCol>
              </a:tblGrid>
              <a:tr h="511726">
                <a:tc>
                  <a:txBody>
                    <a:bodyPr/>
                    <a:lstStyle/>
                    <a:p>
                      <a:endParaRPr lang="en-US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/>
                        <a:t>Platfor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/>
                        <a:t>White Labell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/>
                        <a:t>RTL Pric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86290027"/>
                  </a:ext>
                </a:extLst>
              </a:tr>
              <a:tr h="811318">
                <a:tc>
                  <a:txBody>
                    <a:bodyPr/>
                    <a:lstStyle/>
                    <a:p>
                      <a:endParaRPr lang="en-US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>
                          <a:solidFill>
                            <a:schemeClr val="accent5"/>
                          </a:solidFill>
                        </a:rPr>
                        <a:t>10.000 EU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>
                          <a:solidFill>
                            <a:schemeClr val="accent5"/>
                          </a:solidFill>
                        </a:rPr>
                        <a:t>Price per licens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26741955"/>
                  </a:ext>
                </a:extLst>
              </a:tr>
              <a:tr h="811318">
                <a:tc>
                  <a:txBody>
                    <a:bodyPr/>
                    <a:lstStyle/>
                    <a:p>
                      <a:endParaRPr lang="en-US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>
                          <a:solidFill>
                            <a:schemeClr val="accent5"/>
                          </a:solidFill>
                        </a:rPr>
                        <a:t>10.000 EU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>
                          <a:solidFill>
                            <a:schemeClr val="accent5"/>
                          </a:solidFill>
                        </a:rPr>
                        <a:t>Price per licens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65613758"/>
                  </a:ext>
                </a:extLst>
              </a:tr>
              <a:tr h="811318">
                <a:tc>
                  <a:txBody>
                    <a:bodyPr/>
                    <a:lstStyle/>
                    <a:p>
                      <a:endParaRPr lang="en-US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>
                          <a:solidFill>
                            <a:schemeClr val="accent5"/>
                          </a:solidFill>
                        </a:rPr>
                        <a:t>N/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>
                          <a:solidFill>
                            <a:schemeClr val="accent5"/>
                          </a:solidFill>
                        </a:rPr>
                        <a:t>Price per licens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70987026"/>
                  </a:ext>
                </a:extLst>
              </a:tr>
            </a:tbl>
          </a:graphicData>
        </a:graphic>
      </p:graphicFrame>
      <p:pic>
        <p:nvPicPr>
          <p:cNvPr id="14" name="Grafik 43">
            <a:extLst>
              <a:ext uri="{FF2B5EF4-FFF2-40B4-BE49-F238E27FC236}">
                <a16:creationId xmlns:a16="http://schemas.microsoft.com/office/drawing/2014/main" id="{FAAB088F-0035-4BED-83B7-3D524ABD10C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6950"/>
          <a:stretch/>
        </p:blipFill>
        <p:spPr>
          <a:xfrm>
            <a:off x="1065178" y="3428962"/>
            <a:ext cx="2268572" cy="1093129"/>
          </a:xfrm>
          <a:prstGeom prst="rect">
            <a:avLst/>
          </a:prstGeom>
        </p:spPr>
      </p:pic>
      <p:pic>
        <p:nvPicPr>
          <p:cNvPr id="15" name="Grafik 49">
            <a:extLst>
              <a:ext uri="{FF2B5EF4-FFF2-40B4-BE49-F238E27FC236}">
                <a16:creationId xmlns:a16="http://schemas.microsoft.com/office/drawing/2014/main" id="{14489EF6-C43D-4490-986E-CC9921710F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7878" y="4267192"/>
            <a:ext cx="2146808" cy="1077697"/>
          </a:xfrm>
          <a:prstGeom prst="rect">
            <a:avLst/>
          </a:prstGeom>
        </p:spPr>
      </p:pic>
      <p:pic>
        <p:nvPicPr>
          <p:cNvPr id="16" name="Picture 15" descr="Logo&#10;&#10;Description automatically generated">
            <a:extLst>
              <a:ext uri="{FF2B5EF4-FFF2-40B4-BE49-F238E27FC236}">
                <a16:creationId xmlns:a16="http://schemas.microsoft.com/office/drawing/2014/main" id="{530CFF45-3C6D-475F-B623-B45DE994D0A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0140" y="2622260"/>
            <a:ext cx="3322091" cy="1146121"/>
          </a:xfrm>
          <a:prstGeom prst="rect">
            <a:avLst/>
          </a:prstGeom>
        </p:spPr>
      </p:pic>
      <p:pic>
        <p:nvPicPr>
          <p:cNvPr id="51202" name="Picture 2" descr="Windows logo : histoire, signification et évolution, symbole">
            <a:extLst>
              <a:ext uri="{FF2B5EF4-FFF2-40B4-BE49-F238E27FC236}">
                <a16:creationId xmlns:a16="http://schemas.microsoft.com/office/drawing/2014/main" id="{8A8154CE-CE62-4E65-B5DE-05134582D2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5875" y="2925773"/>
            <a:ext cx="495778" cy="452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08" name="Picture 8" descr="Download Free png Download APPLE LOGO Free PNG transparent image and  clipart - DLPNG.com">
            <a:extLst>
              <a:ext uri="{FF2B5EF4-FFF2-40B4-BE49-F238E27FC236}">
                <a16:creationId xmlns:a16="http://schemas.microsoft.com/office/drawing/2014/main" id="{5053C009-55AD-4BCC-A78D-3BCF11D185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5010" y="3674815"/>
            <a:ext cx="398406" cy="488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Windows logo : histoire, signification et évolution, symbole">
            <a:extLst>
              <a:ext uri="{FF2B5EF4-FFF2-40B4-BE49-F238E27FC236}">
                <a16:creationId xmlns:a16="http://schemas.microsoft.com/office/drawing/2014/main" id="{B9EE771B-D535-477F-9E9A-B6CE8F1847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6389" y="3760341"/>
            <a:ext cx="495778" cy="452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 descr="Windows logo : histoire, signification et évolution, symbole">
            <a:extLst>
              <a:ext uri="{FF2B5EF4-FFF2-40B4-BE49-F238E27FC236}">
                <a16:creationId xmlns:a16="http://schemas.microsoft.com/office/drawing/2014/main" id="{0F4E2CDD-8234-4C8F-9FF1-ED54E86ECA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0387" y="4580396"/>
            <a:ext cx="495778" cy="452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4236789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>
            <a:extLst>
              <a:ext uri="{FF2B5EF4-FFF2-40B4-BE49-F238E27FC236}">
                <a16:creationId xmlns:a16="http://schemas.microsoft.com/office/drawing/2014/main" id="{C3428D45-71A9-AC48-AAFF-BB951BBDF0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365125"/>
            <a:ext cx="9720000" cy="1325563"/>
          </a:xfrm>
        </p:spPr>
        <p:txBody>
          <a:bodyPr/>
          <a:lstStyle/>
          <a:p>
            <a:r>
              <a:rPr lang="en-US" dirty="0"/>
              <a:t>Integration | Type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0C34BB0-CF44-4FB6-9E21-B003E22D96E0}"/>
              </a:ext>
            </a:extLst>
          </p:cNvPr>
          <p:cNvSpPr txBox="1"/>
          <p:nvPr/>
        </p:nvSpPr>
        <p:spPr>
          <a:xfrm>
            <a:off x="10939018" y="1815071"/>
            <a:ext cx="12677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b="1">
                <a:gradFill flip="none" rotWithShape="1">
                  <a:gsLst>
                    <a:gs pos="0">
                      <a:srgbClr val="00ABBD">
                        <a:tint val="66000"/>
                        <a:satMod val="160000"/>
                      </a:srgbClr>
                    </a:gs>
                    <a:gs pos="50000">
                      <a:srgbClr val="00ABBD">
                        <a:tint val="44500"/>
                        <a:satMod val="160000"/>
                      </a:srgbClr>
                    </a:gs>
                    <a:gs pos="100000">
                      <a:srgbClr val="00ABBD">
                        <a:tint val="23500"/>
                        <a:satMod val="160000"/>
                      </a:srgbClr>
                    </a:gs>
                  </a:gsLst>
                  <a:lin ang="13500000" scaled="1"/>
                  <a:tileRect/>
                </a:gradFill>
              </a:defRPr>
            </a:lvl1pPr>
          </a:lstStyle>
          <a:p>
            <a:r>
              <a:rPr lang="fr-BE" dirty="0">
                <a:solidFill>
                  <a:srgbClr val="00ABBD">
                    <a:alpha val="35000"/>
                  </a:srgbClr>
                </a:solidFill>
              </a:rPr>
              <a:t>SERVICES</a:t>
            </a:r>
            <a:endParaRPr lang="en-US" dirty="0">
              <a:solidFill>
                <a:srgbClr val="00ABBD">
                  <a:alpha val="35000"/>
                </a:srgbClr>
              </a:solidFill>
            </a:endParaRPr>
          </a:p>
        </p:txBody>
      </p:sp>
      <p:sp>
        <p:nvSpPr>
          <p:cNvPr id="23" name="Rechteck 21">
            <a:extLst>
              <a:ext uri="{FF2B5EF4-FFF2-40B4-BE49-F238E27FC236}">
                <a16:creationId xmlns:a16="http://schemas.microsoft.com/office/drawing/2014/main" id="{3F2D0329-8F4A-41FB-8A4B-857C4B33BDDC}"/>
              </a:ext>
            </a:extLst>
          </p:cNvPr>
          <p:cNvSpPr/>
          <p:nvPr/>
        </p:nvSpPr>
        <p:spPr>
          <a:xfrm>
            <a:off x="436487" y="1818940"/>
            <a:ext cx="3717833" cy="2792382"/>
          </a:xfrm>
          <a:prstGeom prst="rect">
            <a:avLst/>
          </a:prstGeom>
          <a:noFill/>
          <a:ln w="25400">
            <a:solidFill>
              <a:srgbClr val="47A8BC">
                <a:alpha val="35000"/>
              </a:srgbClr>
            </a:solidFill>
          </a:ln>
          <a:effectLst>
            <a:outerShdw blurRad="50800" dist="50800" dir="5400000" algn="ct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hteck 22">
            <a:extLst>
              <a:ext uri="{FF2B5EF4-FFF2-40B4-BE49-F238E27FC236}">
                <a16:creationId xmlns:a16="http://schemas.microsoft.com/office/drawing/2014/main" id="{50DA6665-E9C8-4F5E-8E7A-7059D1E8D236}"/>
              </a:ext>
            </a:extLst>
          </p:cNvPr>
          <p:cNvSpPr/>
          <p:nvPr/>
        </p:nvSpPr>
        <p:spPr>
          <a:xfrm>
            <a:off x="436485" y="4611322"/>
            <a:ext cx="3717833" cy="1740710"/>
          </a:xfrm>
          <a:prstGeom prst="rect">
            <a:avLst/>
          </a:prstGeom>
          <a:solidFill>
            <a:srgbClr val="47A8BC">
              <a:alpha val="35000"/>
            </a:srgbClr>
          </a:solidFill>
          <a:ln w="25400">
            <a:solidFill>
              <a:srgbClr val="47A8BC">
                <a:alpha val="35000"/>
              </a:srgbClr>
            </a:solidFill>
          </a:ln>
          <a:effectLst>
            <a:outerShdw blurRad="50800" dist="50800" dir="5400000" algn="ct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Integration of Toolkits</a:t>
            </a:r>
          </a:p>
          <a:p>
            <a:pPr algn="ctr"/>
            <a:endParaRPr lang="en-US" b="1" dirty="0"/>
          </a:p>
          <a:p>
            <a:pPr algn="ctr"/>
            <a:r>
              <a:rPr lang="en-US" b="1" i="1" dirty="0"/>
              <a:t>Integrate our technologies directly </a:t>
            </a:r>
          </a:p>
          <a:p>
            <a:pPr algn="ctr"/>
            <a:r>
              <a:rPr lang="en-US" b="1" i="1" dirty="0"/>
              <a:t>into your product</a:t>
            </a:r>
          </a:p>
          <a:p>
            <a:pPr algn="ctr"/>
            <a:endParaRPr lang="en-US" b="1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4226DD9-5F8A-41C4-B8D2-A391D5F9B497}"/>
              </a:ext>
            </a:extLst>
          </p:cNvPr>
          <p:cNvSpPr txBox="1"/>
          <p:nvPr/>
        </p:nvSpPr>
        <p:spPr>
          <a:xfrm>
            <a:off x="3032219" y="1818940"/>
            <a:ext cx="12677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b="1" dirty="0">
                <a:solidFill>
                  <a:srgbClr val="00ABBD">
                    <a:alpha val="35000"/>
                  </a:srgbClr>
                </a:solidFill>
              </a:rPr>
              <a:t>TOOLKITS</a:t>
            </a:r>
            <a:endParaRPr lang="en-US" b="1" dirty="0">
              <a:solidFill>
                <a:srgbClr val="00ABBD">
                  <a:alpha val="35000"/>
                </a:srgbClr>
              </a:solidFill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1754E716-D4F0-4344-B7B9-B449052AFE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903" y="1967549"/>
            <a:ext cx="2047875" cy="809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76066522-795B-4A5F-9809-91EE6A4B6F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301" y="2714169"/>
            <a:ext cx="2314575" cy="1019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2E42A8E2-D698-430C-807D-46C5BE8CF6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0110" y="3708925"/>
            <a:ext cx="1962150" cy="809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hteck 54">
            <a:extLst>
              <a:ext uri="{FF2B5EF4-FFF2-40B4-BE49-F238E27FC236}">
                <a16:creationId xmlns:a16="http://schemas.microsoft.com/office/drawing/2014/main" id="{32F0A67C-2AF3-464B-906A-84CC2C00D06F}"/>
              </a:ext>
            </a:extLst>
          </p:cNvPr>
          <p:cNvSpPr/>
          <p:nvPr/>
        </p:nvSpPr>
        <p:spPr>
          <a:xfrm>
            <a:off x="4369200" y="1818940"/>
            <a:ext cx="3717833" cy="2792382"/>
          </a:xfrm>
          <a:prstGeom prst="rect">
            <a:avLst/>
          </a:prstGeom>
          <a:noFill/>
          <a:ln w="25400">
            <a:solidFill>
              <a:srgbClr val="47A8BC">
                <a:alpha val="35000"/>
              </a:srgbClr>
            </a:solidFill>
          </a:ln>
          <a:effectLst>
            <a:outerShdw blurRad="50800" dist="50800" dir="5400000" algn="ctr" rotWithShape="0">
              <a:schemeClr val="bg1">
                <a:alpha val="3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hteck 55">
            <a:extLst>
              <a:ext uri="{FF2B5EF4-FFF2-40B4-BE49-F238E27FC236}">
                <a16:creationId xmlns:a16="http://schemas.microsoft.com/office/drawing/2014/main" id="{80968B54-9D76-4156-AAD6-A6DE47B7CC1B}"/>
              </a:ext>
            </a:extLst>
          </p:cNvPr>
          <p:cNvSpPr/>
          <p:nvPr/>
        </p:nvSpPr>
        <p:spPr>
          <a:xfrm>
            <a:off x="4369198" y="4611322"/>
            <a:ext cx="3717833" cy="1740710"/>
          </a:xfrm>
          <a:prstGeom prst="rect">
            <a:avLst/>
          </a:prstGeom>
          <a:solidFill>
            <a:srgbClr val="47A8BC">
              <a:alpha val="35000"/>
            </a:srgbClr>
          </a:solidFill>
          <a:ln w="25400">
            <a:solidFill>
              <a:srgbClr val="47A8BC">
                <a:alpha val="35000"/>
              </a:srgbClr>
            </a:solidFill>
          </a:ln>
          <a:effectLst>
            <a:outerShdw blurRad="50800" dist="50800" dir="5400000" algn="ct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1" dirty="0"/>
          </a:p>
          <a:p>
            <a:pPr algn="ctr"/>
            <a:r>
              <a:rPr lang="en-US" sz="2000" b="1" dirty="0"/>
              <a:t>Bundle/White labelling</a:t>
            </a:r>
          </a:p>
          <a:p>
            <a:pPr algn="ctr"/>
            <a:endParaRPr lang="en-US" b="1" dirty="0"/>
          </a:p>
          <a:p>
            <a:pPr algn="ctr"/>
            <a:r>
              <a:rPr lang="en-US" b="1" i="1" dirty="0"/>
              <a:t>Let us put your name on one of our products or bundle it with your product</a:t>
            </a:r>
          </a:p>
          <a:p>
            <a:pPr algn="ctr"/>
            <a:endParaRPr lang="en-US" b="1" dirty="0"/>
          </a:p>
        </p:txBody>
      </p:sp>
      <p:pic>
        <p:nvPicPr>
          <p:cNvPr id="28" name="Grafik 8">
            <a:extLst>
              <a:ext uri="{FF2B5EF4-FFF2-40B4-BE49-F238E27FC236}">
                <a16:creationId xmlns:a16="http://schemas.microsoft.com/office/drawing/2014/main" id="{49289B0E-19AE-48A5-977D-631141F256D3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</a:blip>
          <a:stretch>
            <a:fillRect/>
          </a:stretch>
        </p:blipFill>
        <p:spPr>
          <a:xfrm>
            <a:off x="4803332" y="2071782"/>
            <a:ext cx="586363" cy="586363"/>
          </a:xfrm>
          <a:prstGeom prst="rect">
            <a:avLst/>
          </a:prstGeom>
        </p:spPr>
      </p:pic>
      <p:pic>
        <p:nvPicPr>
          <p:cNvPr id="29" name="Grafik 9">
            <a:extLst>
              <a:ext uri="{FF2B5EF4-FFF2-40B4-BE49-F238E27FC236}">
                <a16:creationId xmlns:a16="http://schemas.microsoft.com/office/drawing/2014/main" id="{860D5B5E-ACD3-4245-B456-83AB9444E152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0000"/>
          </a:blip>
          <a:stretch>
            <a:fillRect/>
          </a:stretch>
        </p:blipFill>
        <p:spPr>
          <a:xfrm>
            <a:off x="5484136" y="2259961"/>
            <a:ext cx="1909089" cy="231818"/>
          </a:xfrm>
          <a:prstGeom prst="rect">
            <a:avLst/>
          </a:prstGeom>
        </p:spPr>
      </p:pic>
      <p:pic>
        <p:nvPicPr>
          <p:cNvPr id="41" name="Grafik 49">
            <a:extLst>
              <a:ext uri="{FF2B5EF4-FFF2-40B4-BE49-F238E27FC236}">
                <a16:creationId xmlns:a16="http://schemas.microsoft.com/office/drawing/2014/main" id="{477D92CC-CB56-4B80-9BB4-BF31EC10B144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20000"/>
          </a:blip>
          <a:stretch>
            <a:fillRect/>
          </a:stretch>
        </p:blipFill>
        <p:spPr>
          <a:xfrm>
            <a:off x="4611223" y="3429000"/>
            <a:ext cx="2021896" cy="1014991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F0AF1051-38EA-4CDB-B57F-38DFDA984D49}"/>
              </a:ext>
            </a:extLst>
          </p:cNvPr>
          <p:cNvSpPr txBox="1"/>
          <p:nvPr/>
        </p:nvSpPr>
        <p:spPr>
          <a:xfrm>
            <a:off x="6896673" y="1804388"/>
            <a:ext cx="12677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b="1" dirty="0">
                <a:gradFill flip="none" rotWithShape="1">
                  <a:gsLst>
                    <a:gs pos="0">
                      <a:srgbClr val="00ABBD">
                        <a:tint val="66000"/>
                        <a:satMod val="160000"/>
                      </a:srgbClr>
                    </a:gs>
                    <a:gs pos="50000">
                      <a:srgbClr val="00ABBD">
                        <a:tint val="44500"/>
                        <a:satMod val="160000"/>
                      </a:srgbClr>
                    </a:gs>
                    <a:gs pos="100000">
                      <a:srgbClr val="00ABBD">
                        <a:tint val="23500"/>
                        <a:satMod val="160000"/>
                      </a:srgbClr>
                    </a:gs>
                  </a:gsLst>
                  <a:lin ang="13500000" scaled="1"/>
                  <a:tileRect/>
                </a:gradFill>
              </a:rPr>
              <a:t>PRODUCTS</a:t>
            </a:r>
            <a:endParaRPr lang="en-US" b="1" dirty="0">
              <a:gradFill flip="none" rotWithShape="1">
                <a:gsLst>
                  <a:gs pos="0">
                    <a:srgbClr val="00ABBD">
                      <a:tint val="66000"/>
                      <a:satMod val="160000"/>
                    </a:srgbClr>
                  </a:gs>
                  <a:gs pos="50000">
                    <a:srgbClr val="00ABBD">
                      <a:tint val="44500"/>
                      <a:satMod val="160000"/>
                    </a:srgbClr>
                  </a:gs>
                  <a:gs pos="100000">
                    <a:srgbClr val="00ABBD">
                      <a:tint val="23500"/>
                      <a:satMod val="160000"/>
                    </a:srgbClr>
                  </a:gs>
                </a:gsLst>
                <a:lin ang="13500000" scaled="1"/>
                <a:tileRect/>
              </a:gradFill>
            </a:endParaRPr>
          </a:p>
        </p:txBody>
      </p:sp>
      <p:pic>
        <p:nvPicPr>
          <p:cNvPr id="44" name="Picture 2">
            <a:extLst>
              <a:ext uri="{FF2B5EF4-FFF2-40B4-BE49-F238E27FC236}">
                <a16:creationId xmlns:a16="http://schemas.microsoft.com/office/drawing/2014/main" id="{20C1C660-88EA-4839-9B9B-3CBF536F6A2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742"/>
          <a:stretch/>
        </p:blipFill>
        <p:spPr bwMode="auto">
          <a:xfrm>
            <a:off x="4591050" y="2624138"/>
            <a:ext cx="2133600" cy="1038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5" name="Group 44">
            <a:extLst>
              <a:ext uri="{FF2B5EF4-FFF2-40B4-BE49-F238E27FC236}">
                <a16:creationId xmlns:a16="http://schemas.microsoft.com/office/drawing/2014/main" id="{1C5A001F-649F-4F2E-B8B3-C54FE58140B9}"/>
              </a:ext>
            </a:extLst>
          </p:cNvPr>
          <p:cNvGrpSpPr/>
          <p:nvPr/>
        </p:nvGrpSpPr>
        <p:grpSpPr>
          <a:xfrm>
            <a:off x="8261598" y="1815071"/>
            <a:ext cx="3945121" cy="4536961"/>
            <a:chOff x="8261598" y="1815071"/>
            <a:chExt cx="3945121" cy="4536961"/>
          </a:xfrm>
        </p:grpSpPr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B62151DC-00DF-478D-B12F-886DC7BD25ED}"/>
                </a:ext>
              </a:extLst>
            </p:cNvPr>
            <p:cNvGrpSpPr/>
            <p:nvPr/>
          </p:nvGrpSpPr>
          <p:grpSpPr>
            <a:xfrm>
              <a:off x="8261598" y="1818940"/>
              <a:ext cx="3723449" cy="4533092"/>
              <a:chOff x="8261598" y="1818940"/>
              <a:chExt cx="3723449" cy="4533092"/>
            </a:xfrm>
          </p:grpSpPr>
          <p:grpSp>
            <p:nvGrpSpPr>
              <p:cNvPr id="48" name="Gruppieren 60">
                <a:extLst>
                  <a:ext uri="{FF2B5EF4-FFF2-40B4-BE49-F238E27FC236}">
                    <a16:creationId xmlns:a16="http://schemas.microsoft.com/office/drawing/2014/main" id="{BB4E6873-BB81-4BC0-A6EF-36AB4FF9335D}"/>
                  </a:ext>
                </a:extLst>
              </p:cNvPr>
              <p:cNvGrpSpPr/>
              <p:nvPr/>
            </p:nvGrpSpPr>
            <p:grpSpPr>
              <a:xfrm>
                <a:off x="8261598" y="1818940"/>
                <a:ext cx="3723449" cy="4533092"/>
                <a:chOff x="820268" y="2526224"/>
                <a:chExt cx="1612966" cy="1937289"/>
              </a:xfrm>
            </p:grpSpPr>
            <p:sp>
              <p:nvSpPr>
                <p:cNvPr id="54" name="Rechteck 62">
                  <a:extLst>
                    <a:ext uri="{FF2B5EF4-FFF2-40B4-BE49-F238E27FC236}">
                      <a16:creationId xmlns:a16="http://schemas.microsoft.com/office/drawing/2014/main" id="{E53E1989-913B-4E11-9976-9446BC53901D}"/>
                    </a:ext>
                  </a:extLst>
                </p:cNvPr>
                <p:cNvSpPr/>
                <p:nvPr/>
              </p:nvSpPr>
              <p:spPr>
                <a:xfrm>
                  <a:off x="822701" y="2526224"/>
                  <a:ext cx="1610533" cy="1193369"/>
                </a:xfrm>
                <a:prstGeom prst="rect">
                  <a:avLst/>
                </a:prstGeom>
                <a:noFill/>
                <a:ln w="25400">
                  <a:solidFill>
                    <a:srgbClr val="47A8BC"/>
                  </a:solidFill>
                </a:ln>
                <a:effectLst>
                  <a:outerShdw blurRad="50800" dist="50800" dir="5400000" algn="ctr" rotWithShape="0">
                    <a:schemeClr val="bg1"/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5" name="Rechteck 63">
                  <a:extLst>
                    <a:ext uri="{FF2B5EF4-FFF2-40B4-BE49-F238E27FC236}">
                      <a16:creationId xmlns:a16="http://schemas.microsoft.com/office/drawing/2014/main" id="{6EA5794E-EDED-4634-9A70-F8C838046ECF}"/>
                    </a:ext>
                  </a:extLst>
                </p:cNvPr>
                <p:cNvSpPr/>
                <p:nvPr/>
              </p:nvSpPr>
              <p:spPr>
                <a:xfrm>
                  <a:off x="820268" y="3719593"/>
                  <a:ext cx="1610533" cy="743920"/>
                </a:xfrm>
                <a:prstGeom prst="rect">
                  <a:avLst/>
                </a:prstGeom>
                <a:solidFill>
                  <a:srgbClr val="47A8BC"/>
                </a:solidFill>
                <a:ln w="25400">
                  <a:solidFill>
                    <a:srgbClr val="47A8BC"/>
                  </a:solidFill>
                </a:ln>
                <a:effectLst>
                  <a:outerShdw blurRad="50800" dist="50800" dir="5400000" algn="ctr" rotWithShape="0">
                    <a:schemeClr val="bg1"/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b="1" dirty="0"/>
                </a:p>
                <a:p>
                  <a:pPr algn="ctr"/>
                  <a:r>
                    <a:rPr lang="en-US" sz="2000" b="1" dirty="0"/>
                    <a:t>Integrate a service</a:t>
                  </a:r>
                </a:p>
                <a:p>
                  <a:pPr algn="ctr"/>
                  <a:endParaRPr lang="en-US" b="1" dirty="0"/>
                </a:p>
                <a:p>
                  <a:pPr algn="ctr"/>
                  <a:r>
                    <a:rPr lang="en-US" b="1" i="1" dirty="0"/>
                    <a:t>We put our solutions in the cloud and let you access it as a Service</a:t>
                  </a:r>
                </a:p>
                <a:p>
                  <a:pPr algn="ctr"/>
                  <a:endParaRPr lang="en-US" b="1" dirty="0"/>
                </a:p>
                <a:p>
                  <a:pPr algn="ctr"/>
                  <a:endParaRPr lang="en-US" b="1" dirty="0"/>
                </a:p>
              </p:txBody>
            </p:sp>
          </p:grpSp>
          <p:pic>
            <p:nvPicPr>
              <p:cNvPr id="51" name="Grafik 12">
                <a:extLst>
                  <a:ext uri="{FF2B5EF4-FFF2-40B4-BE49-F238E27FC236}">
                    <a16:creationId xmlns:a16="http://schemas.microsoft.com/office/drawing/2014/main" id="{4D9F6307-5308-4904-A349-C9D1A678418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8823195" y="2872747"/>
                <a:ext cx="555669" cy="555669"/>
              </a:xfrm>
              <a:prstGeom prst="rect">
                <a:avLst/>
              </a:prstGeom>
            </p:spPr>
          </p:pic>
          <p:pic>
            <p:nvPicPr>
              <p:cNvPr id="52" name="Grafik 13">
                <a:extLst>
                  <a:ext uri="{FF2B5EF4-FFF2-40B4-BE49-F238E27FC236}">
                    <a16:creationId xmlns:a16="http://schemas.microsoft.com/office/drawing/2014/main" id="{1E8CB68F-6A42-4DB8-8A98-99DAF3F851B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9583980" y="3027448"/>
                <a:ext cx="1539737" cy="297449"/>
              </a:xfrm>
              <a:prstGeom prst="rect">
                <a:avLst/>
              </a:prstGeom>
            </p:spPr>
          </p:pic>
        </p:grp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D3958195-85EC-4BC9-8D2D-4B0EE0D0E4D6}"/>
                </a:ext>
              </a:extLst>
            </p:cNvPr>
            <p:cNvSpPr txBox="1"/>
            <p:nvPr/>
          </p:nvSpPr>
          <p:spPr>
            <a:xfrm>
              <a:off x="10939018" y="1815071"/>
              <a:ext cx="126770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BE" b="1" dirty="0">
                  <a:solidFill>
                    <a:srgbClr val="00ABBD"/>
                  </a:solidFill>
                </a:rPr>
                <a:t>SERVICES</a:t>
              </a:r>
              <a:endParaRPr lang="en-US" b="1" dirty="0">
                <a:solidFill>
                  <a:srgbClr val="00ABBD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5722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745CB3-24B5-174D-AB39-F2F7074C02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16273" y="365125"/>
            <a:ext cx="7374151" cy="1325563"/>
          </a:xfrm>
        </p:spPr>
        <p:txBody>
          <a:bodyPr/>
          <a:lstStyle/>
          <a:p>
            <a:r>
              <a:rPr lang="en-US" dirty="0"/>
              <a:t>| AP Servic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058B880-048B-5448-927E-8F764284B2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21757" y="2159083"/>
            <a:ext cx="5810897" cy="4351338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From IRIS provided service to </a:t>
            </a:r>
            <a:r>
              <a:rPr lang="en-US" b="1" dirty="0">
                <a:solidFill>
                  <a:srgbClr val="47A8BC"/>
                </a:solidFill>
              </a:rPr>
              <a:t>extract data from EU Invoices </a:t>
            </a:r>
          </a:p>
          <a:p>
            <a:r>
              <a:rPr lang="en-US" dirty="0"/>
              <a:t>Recognition of relevant </a:t>
            </a:r>
            <a:r>
              <a:rPr lang="en-US" b="1" dirty="0">
                <a:solidFill>
                  <a:srgbClr val="47A8BC"/>
                </a:solidFill>
              </a:rPr>
              <a:t>header and footer data </a:t>
            </a:r>
          </a:p>
          <a:p>
            <a:r>
              <a:rPr lang="en-US" dirty="0"/>
              <a:t>Line Items are optional</a:t>
            </a:r>
          </a:p>
          <a:p>
            <a:r>
              <a:rPr lang="en-US" dirty="0"/>
              <a:t>Checks against public databases to get </a:t>
            </a:r>
            <a:r>
              <a:rPr lang="en-US" b="1" dirty="0">
                <a:solidFill>
                  <a:srgbClr val="47A8BC"/>
                </a:solidFill>
              </a:rPr>
              <a:t>vendor name and address data </a:t>
            </a:r>
            <a:r>
              <a:rPr lang="en-US" dirty="0"/>
              <a:t>for most European countries</a:t>
            </a:r>
          </a:p>
          <a:p>
            <a:r>
              <a:rPr lang="en-US" dirty="0" err="1"/>
              <a:t>IRISPulse</a:t>
            </a:r>
            <a:r>
              <a:rPr lang="en-US" dirty="0"/>
              <a:t> AP Service configuration can </a:t>
            </a:r>
            <a:r>
              <a:rPr lang="en-US" b="1" dirty="0">
                <a:solidFill>
                  <a:srgbClr val="47A8BC"/>
                </a:solidFill>
              </a:rPr>
              <a:t>also</a:t>
            </a:r>
            <a:r>
              <a:rPr lang="en-US" dirty="0"/>
              <a:t> be used </a:t>
            </a:r>
            <a:r>
              <a:rPr lang="en-US" b="1" dirty="0">
                <a:solidFill>
                  <a:srgbClr val="47A8BC"/>
                </a:solidFill>
              </a:rPr>
              <a:t>within the </a:t>
            </a:r>
            <a:r>
              <a:rPr lang="en-US" b="1" dirty="0" err="1">
                <a:solidFill>
                  <a:srgbClr val="47A8BC"/>
                </a:solidFill>
              </a:rPr>
              <a:t>IRISXtract</a:t>
            </a:r>
            <a:r>
              <a:rPr lang="en-US" b="1" dirty="0">
                <a:solidFill>
                  <a:srgbClr val="47A8BC"/>
                </a:solidFill>
              </a:rPr>
              <a:t> Platform 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78" name="Rechthoek 50">
            <a:extLst>
              <a:ext uri="{FF2B5EF4-FFF2-40B4-BE49-F238E27FC236}">
                <a16:creationId xmlns:a16="http://schemas.microsoft.com/office/drawing/2014/main" id="{B00F3821-A1EC-46C8-A46B-0B4DB851472C}"/>
              </a:ext>
            </a:extLst>
          </p:cNvPr>
          <p:cNvSpPr/>
          <p:nvPr/>
        </p:nvSpPr>
        <p:spPr>
          <a:xfrm>
            <a:off x="2241997" y="2010488"/>
            <a:ext cx="2718816" cy="3862870"/>
          </a:xfrm>
          <a:prstGeom prst="rect">
            <a:avLst/>
          </a:prstGeom>
          <a:solidFill>
            <a:srgbClr val="FFFFFF">
              <a:lumMod val="95000"/>
              <a:alpha val="28000"/>
            </a:srgbClr>
          </a:solidFill>
          <a:ln w="25400" cap="flat" cmpd="sng" algn="ctr">
            <a:solidFill>
              <a:srgbClr val="E7E6E6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9" name="Tekstvak 51">
            <a:extLst>
              <a:ext uri="{FF2B5EF4-FFF2-40B4-BE49-F238E27FC236}">
                <a16:creationId xmlns:a16="http://schemas.microsoft.com/office/drawing/2014/main" id="{9F3EB3CC-DCCD-4083-B8D5-27BE4A90AE72}"/>
              </a:ext>
            </a:extLst>
          </p:cNvPr>
          <p:cNvSpPr txBox="1"/>
          <p:nvPr/>
        </p:nvSpPr>
        <p:spPr>
          <a:xfrm>
            <a:off x="3805039" y="2160165"/>
            <a:ext cx="101983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0" cap="none" spc="0" normalizeH="0" baseline="0" noProof="0" dirty="0">
                <a:ln>
                  <a:noFill/>
                </a:ln>
                <a:solidFill>
                  <a:srgbClr val="00ABBD"/>
                </a:solidFill>
                <a:effectLst/>
                <a:uLnTx/>
                <a:uFillTx/>
              </a:rPr>
              <a:t>INVOICE DATE</a:t>
            </a:r>
          </a:p>
        </p:txBody>
      </p:sp>
      <p:sp>
        <p:nvSpPr>
          <p:cNvPr id="80" name="Tekstvak 52">
            <a:extLst>
              <a:ext uri="{FF2B5EF4-FFF2-40B4-BE49-F238E27FC236}">
                <a16:creationId xmlns:a16="http://schemas.microsoft.com/office/drawing/2014/main" id="{4DCAF6C9-5624-41A3-89D9-721760AC550E}"/>
              </a:ext>
            </a:extLst>
          </p:cNvPr>
          <p:cNvSpPr txBox="1"/>
          <p:nvPr/>
        </p:nvSpPr>
        <p:spPr>
          <a:xfrm>
            <a:off x="2438307" y="2574693"/>
            <a:ext cx="69442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0" cap="none" spc="0" normalizeH="0" baseline="0" noProof="0" dirty="0">
                <a:ln>
                  <a:noFill/>
                </a:ln>
                <a:solidFill>
                  <a:srgbClr val="00ABBD"/>
                </a:solidFill>
                <a:effectLst/>
                <a:uLnTx/>
                <a:uFillTx/>
              </a:rPr>
              <a:t>VENDOR</a:t>
            </a:r>
          </a:p>
        </p:txBody>
      </p:sp>
      <p:sp>
        <p:nvSpPr>
          <p:cNvPr id="81" name="Tekstvak 53">
            <a:extLst>
              <a:ext uri="{FF2B5EF4-FFF2-40B4-BE49-F238E27FC236}">
                <a16:creationId xmlns:a16="http://schemas.microsoft.com/office/drawing/2014/main" id="{76D67CBE-A244-41E5-85E0-6B5928D5DAEC}"/>
              </a:ext>
            </a:extLst>
          </p:cNvPr>
          <p:cNvSpPr txBox="1"/>
          <p:nvPr/>
        </p:nvSpPr>
        <p:spPr>
          <a:xfrm>
            <a:off x="2948890" y="5184396"/>
            <a:ext cx="56618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0" cap="none" spc="0" normalizeH="0" baseline="0" noProof="0" dirty="0">
                <a:ln>
                  <a:noFill/>
                </a:ln>
                <a:solidFill>
                  <a:srgbClr val="00ABBD"/>
                </a:solidFill>
                <a:effectLst/>
                <a:uLnTx/>
                <a:uFillTx/>
              </a:rPr>
              <a:t>TOTAL</a:t>
            </a:r>
          </a:p>
        </p:txBody>
      </p:sp>
      <p:sp>
        <p:nvSpPr>
          <p:cNvPr id="82" name="Tekstvak 54">
            <a:extLst>
              <a:ext uri="{FF2B5EF4-FFF2-40B4-BE49-F238E27FC236}">
                <a16:creationId xmlns:a16="http://schemas.microsoft.com/office/drawing/2014/main" id="{6E1C17F7-433B-427C-8F31-3F8D7CD8412E}"/>
              </a:ext>
            </a:extLst>
          </p:cNvPr>
          <p:cNvSpPr txBox="1"/>
          <p:nvPr/>
        </p:nvSpPr>
        <p:spPr>
          <a:xfrm>
            <a:off x="4067164" y="5184396"/>
            <a:ext cx="25680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0" cap="none" spc="0" normalizeH="0" baseline="0" noProof="0" dirty="0">
                <a:ln>
                  <a:noFill/>
                </a:ln>
                <a:solidFill>
                  <a:srgbClr val="00ABBD"/>
                </a:solidFill>
                <a:effectLst/>
                <a:uLnTx/>
                <a:uFillTx/>
              </a:rPr>
              <a:t>€</a:t>
            </a:r>
          </a:p>
        </p:txBody>
      </p:sp>
      <p:cxnSp>
        <p:nvCxnSpPr>
          <p:cNvPr id="83" name="Rechte verbindingslijn 57">
            <a:extLst>
              <a:ext uri="{FF2B5EF4-FFF2-40B4-BE49-F238E27FC236}">
                <a16:creationId xmlns:a16="http://schemas.microsoft.com/office/drawing/2014/main" id="{622F3E98-39DC-4F55-8E79-8C417EFC6925}"/>
              </a:ext>
            </a:extLst>
          </p:cNvPr>
          <p:cNvCxnSpPr/>
          <p:nvPr/>
        </p:nvCxnSpPr>
        <p:spPr>
          <a:xfrm>
            <a:off x="3896969" y="2421775"/>
            <a:ext cx="920152" cy="0"/>
          </a:xfrm>
          <a:prstGeom prst="line">
            <a:avLst/>
          </a:prstGeom>
          <a:noFill/>
          <a:ln w="69850" cap="flat" cmpd="sng" algn="ctr">
            <a:solidFill>
              <a:srgbClr val="E7E6E6"/>
            </a:solidFill>
            <a:prstDash val="solid"/>
            <a:miter lim="800000"/>
          </a:ln>
          <a:effectLst/>
        </p:spPr>
      </p:cxnSp>
      <p:cxnSp>
        <p:nvCxnSpPr>
          <p:cNvPr id="84" name="Rechte verbindingslijn 58">
            <a:extLst>
              <a:ext uri="{FF2B5EF4-FFF2-40B4-BE49-F238E27FC236}">
                <a16:creationId xmlns:a16="http://schemas.microsoft.com/office/drawing/2014/main" id="{25DCEB99-0727-433F-8088-0A5ECEAF2EB9}"/>
              </a:ext>
            </a:extLst>
          </p:cNvPr>
          <p:cNvCxnSpPr>
            <a:cxnSpLocks/>
          </p:cNvCxnSpPr>
          <p:nvPr/>
        </p:nvCxnSpPr>
        <p:spPr>
          <a:xfrm>
            <a:off x="3896969" y="2514765"/>
            <a:ext cx="689674" cy="0"/>
          </a:xfrm>
          <a:prstGeom prst="line">
            <a:avLst/>
          </a:prstGeom>
          <a:noFill/>
          <a:ln w="69850" cap="flat" cmpd="sng" algn="ctr">
            <a:solidFill>
              <a:srgbClr val="E7E6E6"/>
            </a:solidFill>
            <a:prstDash val="solid"/>
            <a:miter lim="800000"/>
          </a:ln>
          <a:effectLst/>
        </p:spPr>
      </p:cxnSp>
      <p:cxnSp>
        <p:nvCxnSpPr>
          <p:cNvPr id="85" name="Rechte verbindingslijn 60">
            <a:extLst>
              <a:ext uri="{FF2B5EF4-FFF2-40B4-BE49-F238E27FC236}">
                <a16:creationId xmlns:a16="http://schemas.microsoft.com/office/drawing/2014/main" id="{FFC682FB-4168-4015-A9B5-F00273800582}"/>
              </a:ext>
            </a:extLst>
          </p:cNvPr>
          <p:cNvCxnSpPr/>
          <p:nvPr/>
        </p:nvCxnSpPr>
        <p:spPr>
          <a:xfrm>
            <a:off x="2494373" y="2863477"/>
            <a:ext cx="920152" cy="0"/>
          </a:xfrm>
          <a:prstGeom prst="line">
            <a:avLst/>
          </a:prstGeom>
          <a:noFill/>
          <a:ln w="69850" cap="flat" cmpd="sng" algn="ctr">
            <a:solidFill>
              <a:srgbClr val="E7E6E6"/>
            </a:solidFill>
            <a:prstDash val="solid"/>
            <a:miter lim="800000"/>
          </a:ln>
          <a:effectLst/>
        </p:spPr>
      </p:cxnSp>
      <p:cxnSp>
        <p:nvCxnSpPr>
          <p:cNvPr id="86" name="Rechte verbindingslijn 61">
            <a:extLst>
              <a:ext uri="{FF2B5EF4-FFF2-40B4-BE49-F238E27FC236}">
                <a16:creationId xmlns:a16="http://schemas.microsoft.com/office/drawing/2014/main" id="{7054050F-9214-4562-949D-AFFCDF47D3B1}"/>
              </a:ext>
            </a:extLst>
          </p:cNvPr>
          <p:cNvCxnSpPr>
            <a:cxnSpLocks/>
          </p:cNvCxnSpPr>
          <p:nvPr/>
        </p:nvCxnSpPr>
        <p:spPr>
          <a:xfrm>
            <a:off x="2494373" y="2956467"/>
            <a:ext cx="689674" cy="0"/>
          </a:xfrm>
          <a:prstGeom prst="line">
            <a:avLst/>
          </a:prstGeom>
          <a:noFill/>
          <a:ln w="69850" cap="flat" cmpd="sng" algn="ctr">
            <a:solidFill>
              <a:srgbClr val="E7E6E6"/>
            </a:solidFill>
            <a:prstDash val="solid"/>
            <a:miter lim="800000"/>
          </a:ln>
          <a:effectLst/>
        </p:spPr>
      </p:cxnSp>
      <p:cxnSp>
        <p:nvCxnSpPr>
          <p:cNvPr id="87" name="Rechte verbindingslijn 62">
            <a:extLst>
              <a:ext uri="{FF2B5EF4-FFF2-40B4-BE49-F238E27FC236}">
                <a16:creationId xmlns:a16="http://schemas.microsoft.com/office/drawing/2014/main" id="{783F9927-3BD6-4075-8ECA-C45524E7B681}"/>
              </a:ext>
            </a:extLst>
          </p:cNvPr>
          <p:cNvCxnSpPr>
            <a:cxnSpLocks/>
          </p:cNvCxnSpPr>
          <p:nvPr/>
        </p:nvCxnSpPr>
        <p:spPr>
          <a:xfrm>
            <a:off x="2494373" y="3049457"/>
            <a:ext cx="689674" cy="0"/>
          </a:xfrm>
          <a:prstGeom prst="line">
            <a:avLst/>
          </a:prstGeom>
          <a:noFill/>
          <a:ln w="69850" cap="flat" cmpd="sng" algn="ctr">
            <a:solidFill>
              <a:srgbClr val="E7E6E6"/>
            </a:solidFill>
            <a:prstDash val="solid"/>
            <a:miter lim="800000"/>
          </a:ln>
          <a:effectLst/>
        </p:spPr>
      </p:cxnSp>
      <p:cxnSp>
        <p:nvCxnSpPr>
          <p:cNvPr id="88" name="Rechte verbindingslijn 63">
            <a:extLst>
              <a:ext uri="{FF2B5EF4-FFF2-40B4-BE49-F238E27FC236}">
                <a16:creationId xmlns:a16="http://schemas.microsoft.com/office/drawing/2014/main" id="{C06DD9C1-6C11-489A-B661-3243B953D510}"/>
              </a:ext>
            </a:extLst>
          </p:cNvPr>
          <p:cNvCxnSpPr>
            <a:cxnSpLocks/>
          </p:cNvCxnSpPr>
          <p:nvPr/>
        </p:nvCxnSpPr>
        <p:spPr>
          <a:xfrm>
            <a:off x="2494373" y="3566546"/>
            <a:ext cx="689674" cy="0"/>
          </a:xfrm>
          <a:prstGeom prst="line">
            <a:avLst/>
          </a:prstGeom>
          <a:noFill/>
          <a:ln w="69850" cap="flat" cmpd="sng" algn="ctr">
            <a:solidFill>
              <a:srgbClr val="E7E6E6"/>
            </a:solidFill>
            <a:prstDash val="solid"/>
            <a:miter lim="800000"/>
          </a:ln>
          <a:effectLst/>
        </p:spPr>
      </p:cxnSp>
      <p:cxnSp>
        <p:nvCxnSpPr>
          <p:cNvPr id="89" name="Rechte verbindingslijn 64">
            <a:extLst>
              <a:ext uri="{FF2B5EF4-FFF2-40B4-BE49-F238E27FC236}">
                <a16:creationId xmlns:a16="http://schemas.microsoft.com/office/drawing/2014/main" id="{67493B54-71BC-4991-9A5E-16C3B1432802}"/>
              </a:ext>
            </a:extLst>
          </p:cNvPr>
          <p:cNvCxnSpPr/>
          <p:nvPr/>
        </p:nvCxnSpPr>
        <p:spPr>
          <a:xfrm>
            <a:off x="2494373" y="3722304"/>
            <a:ext cx="920152" cy="0"/>
          </a:xfrm>
          <a:prstGeom prst="line">
            <a:avLst/>
          </a:prstGeom>
          <a:noFill/>
          <a:ln w="69850" cap="flat" cmpd="sng" algn="ctr">
            <a:solidFill>
              <a:srgbClr val="E7E6E6"/>
            </a:solidFill>
            <a:prstDash val="solid"/>
            <a:miter lim="800000"/>
          </a:ln>
          <a:effectLst/>
        </p:spPr>
      </p:cxnSp>
      <p:cxnSp>
        <p:nvCxnSpPr>
          <p:cNvPr id="90" name="Rechte verbindingslijn 65">
            <a:extLst>
              <a:ext uri="{FF2B5EF4-FFF2-40B4-BE49-F238E27FC236}">
                <a16:creationId xmlns:a16="http://schemas.microsoft.com/office/drawing/2014/main" id="{2D1A198B-DA91-467F-A1C1-6D4494F0DF64}"/>
              </a:ext>
            </a:extLst>
          </p:cNvPr>
          <p:cNvCxnSpPr>
            <a:cxnSpLocks/>
          </p:cNvCxnSpPr>
          <p:nvPr/>
        </p:nvCxnSpPr>
        <p:spPr>
          <a:xfrm>
            <a:off x="2494373" y="3878062"/>
            <a:ext cx="480447" cy="0"/>
          </a:xfrm>
          <a:prstGeom prst="line">
            <a:avLst/>
          </a:prstGeom>
          <a:noFill/>
          <a:ln w="69850" cap="flat" cmpd="sng" algn="ctr">
            <a:solidFill>
              <a:srgbClr val="E7E6E6"/>
            </a:solidFill>
            <a:prstDash val="solid"/>
            <a:miter lim="800000"/>
          </a:ln>
          <a:effectLst/>
        </p:spPr>
      </p:cxnSp>
      <p:cxnSp>
        <p:nvCxnSpPr>
          <p:cNvPr id="91" name="Rechte verbindingslijn 66">
            <a:extLst>
              <a:ext uri="{FF2B5EF4-FFF2-40B4-BE49-F238E27FC236}">
                <a16:creationId xmlns:a16="http://schemas.microsoft.com/office/drawing/2014/main" id="{489BAB24-E21D-4D2D-AD52-12BE9BCD30CE}"/>
              </a:ext>
            </a:extLst>
          </p:cNvPr>
          <p:cNvCxnSpPr/>
          <p:nvPr/>
        </p:nvCxnSpPr>
        <p:spPr>
          <a:xfrm>
            <a:off x="2494373" y="4033820"/>
            <a:ext cx="920152" cy="0"/>
          </a:xfrm>
          <a:prstGeom prst="line">
            <a:avLst/>
          </a:prstGeom>
          <a:noFill/>
          <a:ln w="69850" cap="flat" cmpd="sng" algn="ctr">
            <a:solidFill>
              <a:srgbClr val="E7E6E6"/>
            </a:solidFill>
            <a:prstDash val="solid"/>
            <a:miter lim="800000"/>
          </a:ln>
          <a:effectLst/>
        </p:spPr>
      </p:cxnSp>
      <p:cxnSp>
        <p:nvCxnSpPr>
          <p:cNvPr id="92" name="Rechte verbindingslijn 67">
            <a:extLst>
              <a:ext uri="{FF2B5EF4-FFF2-40B4-BE49-F238E27FC236}">
                <a16:creationId xmlns:a16="http://schemas.microsoft.com/office/drawing/2014/main" id="{3E086526-D3B3-487D-9D63-D8F527381C1B}"/>
              </a:ext>
            </a:extLst>
          </p:cNvPr>
          <p:cNvCxnSpPr>
            <a:cxnSpLocks/>
          </p:cNvCxnSpPr>
          <p:nvPr/>
        </p:nvCxnSpPr>
        <p:spPr>
          <a:xfrm>
            <a:off x="2494373" y="4189578"/>
            <a:ext cx="790277" cy="0"/>
          </a:xfrm>
          <a:prstGeom prst="line">
            <a:avLst/>
          </a:prstGeom>
          <a:noFill/>
          <a:ln w="69850" cap="flat" cmpd="sng" algn="ctr">
            <a:solidFill>
              <a:srgbClr val="E7E6E6"/>
            </a:solidFill>
            <a:prstDash val="solid"/>
            <a:miter lim="800000"/>
          </a:ln>
          <a:effectLst/>
        </p:spPr>
      </p:cxnSp>
      <p:cxnSp>
        <p:nvCxnSpPr>
          <p:cNvPr id="93" name="Rechte verbindingslijn 68">
            <a:extLst>
              <a:ext uri="{FF2B5EF4-FFF2-40B4-BE49-F238E27FC236}">
                <a16:creationId xmlns:a16="http://schemas.microsoft.com/office/drawing/2014/main" id="{39B6FF31-16AE-4026-B126-08D30CE998E7}"/>
              </a:ext>
            </a:extLst>
          </p:cNvPr>
          <p:cNvCxnSpPr/>
          <p:nvPr/>
        </p:nvCxnSpPr>
        <p:spPr>
          <a:xfrm>
            <a:off x="2494373" y="4345336"/>
            <a:ext cx="920152" cy="0"/>
          </a:xfrm>
          <a:prstGeom prst="line">
            <a:avLst/>
          </a:prstGeom>
          <a:noFill/>
          <a:ln w="69850" cap="flat" cmpd="sng" algn="ctr">
            <a:solidFill>
              <a:srgbClr val="E7E6E6"/>
            </a:solidFill>
            <a:prstDash val="solid"/>
            <a:miter lim="800000"/>
          </a:ln>
          <a:effectLst/>
        </p:spPr>
      </p:cxnSp>
      <p:cxnSp>
        <p:nvCxnSpPr>
          <p:cNvPr id="94" name="Rechte verbindingslijn 69">
            <a:extLst>
              <a:ext uri="{FF2B5EF4-FFF2-40B4-BE49-F238E27FC236}">
                <a16:creationId xmlns:a16="http://schemas.microsoft.com/office/drawing/2014/main" id="{9D1A5636-CE2C-4F40-9ACE-84F2AEA550BD}"/>
              </a:ext>
            </a:extLst>
          </p:cNvPr>
          <p:cNvCxnSpPr/>
          <p:nvPr/>
        </p:nvCxnSpPr>
        <p:spPr>
          <a:xfrm>
            <a:off x="2494373" y="4501094"/>
            <a:ext cx="920152" cy="0"/>
          </a:xfrm>
          <a:prstGeom prst="line">
            <a:avLst/>
          </a:prstGeom>
          <a:noFill/>
          <a:ln w="69850" cap="flat" cmpd="sng" algn="ctr">
            <a:solidFill>
              <a:srgbClr val="E7E6E6"/>
            </a:solidFill>
            <a:prstDash val="solid"/>
            <a:miter lim="800000"/>
          </a:ln>
          <a:effectLst/>
        </p:spPr>
      </p:cxnSp>
      <p:cxnSp>
        <p:nvCxnSpPr>
          <p:cNvPr id="95" name="Rechte verbindingslijn 70">
            <a:extLst>
              <a:ext uri="{FF2B5EF4-FFF2-40B4-BE49-F238E27FC236}">
                <a16:creationId xmlns:a16="http://schemas.microsoft.com/office/drawing/2014/main" id="{8DB0B1A5-E8D6-4CBD-A15D-7D983F0392BE}"/>
              </a:ext>
            </a:extLst>
          </p:cNvPr>
          <p:cNvCxnSpPr>
            <a:cxnSpLocks/>
          </p:cNvCxnSpPr>
          <p:nvPr/>
        </p:nvCxnSpPr>
        <p:spPr>
          <a:xfrm>
            <a:off x="2494373" y="4656852"/>
            <a:ext cx="638355" cy="0"/>
          </a:xfrm>
          <a:prstGeom prst="line">
            <a:avLst/>
          </a:prstGeom>
          <a:noFill/>
          <a:ln w="69850" cap="flat" cmpd="sng" algn="ctr">
            <a:solidFill>
              <a:srgbClr val="E7E6E6"/>
            </a:solidFill>
            <a:prstDash val="solid"/>
            <a:miter lim="800000"/>
          </a:ln>
          <a:effectLst/>
        </p:spPr>
      </p:cxnSp>
      <p:cxnSp>
        <p:nvCxnSpPr>
          <p:cNvPr id="96" name="Rechte verbindingslijn 71">
            <a:extLst>
              <a:ext uri="{FF2B5EF4-FFF2-40B4-BE49-F238E27FC236}">
                <a16:creationId xmlns:a16="http://schemas.microsoft.com/office/drawing/2014/main" id="{61A0C5FD-5308-480C-9B8D-B476B1FF3ECB}"/>
              </a:ext>
            </a:extLst>
          </p:cNvPr>
          <p:cNvCxnSpPr/>
          <p:nvPr/>
        </p:nvCxnSpPr>
        <p:spPr>
          <a:xfrm>
            <a:off x="2494373" y="4812610"/>
            <a:ext cx="920152" cy="0"/>
          </a:xfrm>
          <a:prstGeom prst="line">
            <a:avLst/>
          </a:prstGeom>
          <a:noFill/>
          <a:ln w="69850" cap="flat" cmpd="sng" algn="ctr">
            <a:solidFill>
              <a:srgbClr val="E7E6E6"/>
            </a:solidFill>
            <a:prstDash val="solid"/>
            <a:miter lim="800000"/>
          </a:ln>
          <a:effectLst/>
        </p:spPr>
      </p:cxnSp>
      <p:cxnSp>
        <p:nvCxnSpPr>
          <p:cNvPr id="97" name="Rechte verbindingslijn 72">
            <a:extLst>
              <a:ext uri="{FF2B5EF4-FFF2-40B4-BE49-F238E27FC236}">
                <a16:creationId xmlns:a16="http://schemas.microsoft.com/office/drawing/2014/main" id="{41F6A641-AC56-4FAF-90CF-5C0BE509AF83}"/>
              </a:ext>
            </a:extLst>
          </p:cNvPr>
          <p:cNvCxnSpPr>
            <a:cxnSpLocks/>
          </p:cNvCxnSpPr>
          <p:nvPr/>
        </p:nvCxnSpPr>
        <p:spPr>
          <a:xfrm>
            <a:off x="2494373" y="4968368"/>
            <a:ext cx="689674" cy="0"/>
          </a:xfrm>
          <a:prstGeom prst="line">
            <a:avLst/>
          </a:prstGeom>
          <a:noFill/>
          <a:ln w="69850" cap="flat" cmpd="sng" algn="ctr">
            <a:solidFill>
              <a:srgbClr val="E7E6E6"/>
            </a:solidFill>
            <a:prstDash val="solid"/>
            <a:miter lim="800000"/>
          </a:ln>
          <a:effectLst/>
        </p:spPr>
      </p:cxnSp>
      <p:cxnSp>
        <p:nvCxnSpPr>
          <p:cNvPr id="98" name="Rechte verbindingslijn 73">
            <a:extLst>
              <a:ext uri="{FF2B5EF4-FFF2-40B4-BE49-F238E27FC236}">
                <a16:creationId xmlns:a16="http://schemas.microsoft.com/office/drawing/2014/main" id="{EBEE6944-A6EC-4A6B-A0F4-28710FD3F3CB}"/>
              </a:ext>
            </a:extLst>
          </p:cNvPr>
          <p:cNvCxnSpPr/>
          <p:nvPr/>
        </p:nvCxnSpPr>
        <p:spPr>
          <a:xfrm>
            <a:off x="2494373" y="5124124"/>
            <a:ext cx="920152" cy="0"/>
          </a:xfrm>
          <a:prstGeom prst="line">
            <a:avLst/>
          </a:prstGeom>
          <a:noFill/>
          <a:ln w="69850" cap="flat" cmpd="sng" algn="ctr">
            <a:solidFill>
              <a:srgbClr val="E7E6E6"/>
            </a:solidFill>
            <a:prstDash val="solid"/>
            <a:miter lim="800000"/>
          </a:ln>
          <a:effectLst/>
        </p:spPr>
      </p:cxnSp>
      <p:cxnSp>
        <p:nvCxnSpPr>
          <p:cNvPr id="99" name="Rechte verbindingslijn 78">
            <a:extLst>
              <a:ext uri="{FF2B5EF4-FFF2-40B4-BE49-F238E27FC236}">
                <a16:creationId xmlns:a16="http://schemas.microsoft.com/office/drawing/2014/main" id="{94CEDFEF-02F7-4EF9-97BE-E156DFDFBAC4}"/>
              </a:ext>
            </a:extLst>
          </p:cNvPr>
          <p:cNvCxnSpPr>
            <a:cxnSpLocks/>
          </p:cNvCxnSpPr>
          <p:nvPr/>
        </p:nvCxnSpPr>
        <p:spPr>
          <a:xfrm>
            <a:off x="4357045" y="3566546"/>
            <a:ext cx="312841" cy="0"/>
          </a:xfrm>
          <a:prstGeom prst="line">
            <a:avLst/>
          </a:prstGeom>
          <a:noFill/>
          <a:ln w="69850" cap="flat" cmpd="sng" algn="ctr">
            <a:solidFill>
              <a:srgbClr val="E7E6E6"/>
            </a:solidFill>
            <a:prstDash val="solid"/>
            <a:miter lim="800000"/>
          </a:ln>
          <a:effectLst/>
        </p:spPr>
      </p:cxnSp>
      <p:cxnSp>
        <p:nvCxnSpPr>
          <p:cNvPr id="100" name="Rechte verbindingslijn 80">
            <a:extLst>
              <a:ext uri="{FF2B5EF4-FFF2-40B4-BE49-F238E27FC236}">
                <a16:creationId xmlns:a16="http://schemas.microsoft.com/office/drawing/2014/main" id="{461ACDDD-E0F5-42D7-85C6-09E3F12241DE}"/>
              </a:ext>
            </a:extLst>
          </p:cNvPr>
          <p:cNvCxnSpPr>
            <a:cxnSpLocks/>
          </p:cNvCxnSpPr>
          <p:nvPr/>
        </p:nvCxnSpPr>
        <p:spPr>
          <a:xfrm>
            <a:off x="4357045" y="3722213"/>
            <a:ext cx="312841" cy="0"/>
          </a:xfrm>
          <a:prstGeom prst="line">
            <a:avLst/>
          </a:prstGeom>
          <a:noFill/>
          <a:ln w="69850" cap="flat" cmpd="sng" algn="ctr">
            <a:solidFill>
              <a:srgbClr val="E7E6E6"/>
            </a:solidFill>
            <a:prstDash val="solid"/>
            <a:miter lim="800000"/>
          </a:ln>
          <a:effectLst/>
        </p:spPr>
      </p:cxnSp>
      <p:cxnSp>
        <p:nvCxnSpPr>
          <p:cNvPr id="101" name="Rechte verbindingslijn 81">
            <a:extLst>
              <a:ext uri="{FF2B5EF4-FFF2-40B4-BE49-F238E27FC236}">
                <a16:creationId xmlns:a16="http://schemas.microsoft.com/office/drawing/2014/main" id="{57F0E349-E830-439F-A623-5D2973B41CF9}"/>
              </a:ext>
            </a:extLst>
          </p:cNvPr>
          <p:cNvCxnSpPr>
            <a:cxnSpLocks/>
          </p:cNvCxnSpPr>
          <p:nvPr/>
        </p:nvCxnSpPr>
        <p:spPr>
          <a:xfrm>
            <a:off x="4357045" y="3877880"/>
            <a:ext cx="312841" cy="0"/>
          </a:xfrm>
          <a:prstGeom prst="line">
            <a:avLst/>
          </a:prstGeom>
          <a:noFill/>
          <a:ln w="69850" cap="flat" cmpd="sng" algn="ctr">
            <a:solidFill>
              <a:srgbClr val="E7E6E6"/>
            </a:solidFill>
            <a:prstDash val="solid"/>
            <a:miter lim="800000"/>
          </a:ln>
          <a:effectLst/>
        </p:spPr>
      </p:cxnSp>
      <p:cxnSp>
        <p:nvCxnSpPr>
          <p:cNvPr id="102" name="Rechte verbindingslijn 82">
            <a:extLst>
              <a:ext uri="{FF2B5EF4-FFF2-40B4-BE49-F238E27FC236}">
                <a16:creationId xmlns:a16="http://schemas.microsoft.com/office/drawing/2014/main" id="{7E6F915A-3333-40DE-8852-EBC6653611FB}"/>
              </a:ext>
            </a:extLst>
          </p:cNvPr>
          <p:cNvCxnSpPr>
            <a:cxnSpLocks/>
          </p:cNvCxnSpPr>
          <p:nvPr/>
        </p:nvCxnSpPr>
        <p:spPr>
          <a:xfrm>
            <a:off x="4357045" y="4033547"/>
            <a:ext cx="312841" cy="0"/>
          </a:xfrm>
          <a:prstGeom prst="line">
            <a:avLst/>
          </a:prstGeom>
          <a:noFill/>
          <a:ln w="69850" cap="flat" cmpd="sng" algn="ctr">
            <a:solidFill>
              <a:srgbClr val="E7E6E6"/>
            </a:solidFill>
            <a:prstDash val="solid"/>
            <a:miter lim="800000"/>
          </a:ln>
          <a:effectLst/>
        </p:spPr>
      </p:cxnSp>
      <p:cxnSp>
        <p:nvCxnSpPr>
          <p:cNvPr id="103" name="Rechte verbindingslijn 83">
            <a:extLst>
              <a:ext uri="{FF2B5EF4-FFF2-40B4-BE49-F238E27FC236}">
                <a16:creationId xmlns:a16="http://schemas.microsoft.com/office/drawing/2014/main" id="{11FCE8B8-1D45-4131-BF50-917D0841FEE2}"/>
              </a:ext>
            </a:extLst>
          </p:cNvPr>
          <p:cNvCxnSpPr>
            <a:cxnSpLocks/>
          </p:cNvCxnSpPr>
          <p:nvPr/>
        </p:nvCxnSpPr>
        <p:spPr>
          <a:xfrm>
            <a:off x="4357045" y="4189214"/>
            <a:ext cx="312841" cy="0"/>
          </a:xfrm>
          <a:prstGeom prst="line">
            <a:avLst/>
          </a:prstGeom>
          <a:noFill/>
          <a:ln w="69850" cap="flat" cmpd="sng" algn="ctr">
            <a:solidFill>
              <a:srgbClr val="E7E6E6"/>
            </a:solidFill>
            <a:prstDash val="solid"/>
            <a:miter lim="800000"/>
          </a:ln>
          <a:effectLst/>
        </p:spPr>
      </p:cxnSp>
      <p:cxnSp>
        <p:nvCxnSpPr>
          <p:cNvPr id="104" name="Rechte verbindingslijn 84">
            <a:extLst>
              <a:ext uri="{FF2B5EF4-FFF2-40B4-BE49-F238E27FC236}">
                <a16:creationId xmlns:a16="http://schemas.microsoft.com/office/drawing/2014/main" id="{3E748800-1770-4A5C-8390-D4BDEE0AC4D7}"/>
              </a:ext>
            </a:extLst>
          </p:cNvPr>
          <p:cNvCxnSpPr>
            <a:cxnSpLocks/>
          </p:cNvCxnSpPr>
          <p:nvPr/>
        </p:nvCxnSpPr>
        <p:spPr>
          <a:xfrm>
            <a:off x="4357045" y="4344881"/>
            <a:ext cx="312841" cy="0"/>
          </a:xfrm>
          <a:prstGeom prst="line">
            <a:avLst/>
          </a:prstGeom>
          <a:noFill/>
          <a:ln w="69850" cap="flat" cmpd="sng" algn="ctr">
            <a:solidFill>
              <a:srgbClr val="E7E6E6"/>
            </a:solidFill>
            <a:prstDash val="solid"/>
            <a:miter lim="800000"/>
          </a:ln>
          <a:effectLst/>
        </p:spPr>
      </p:cxnSp>
      <p:cxnSp>
        <p:nvCxnSpPr>
          <p:cNvPr id="105" name="Rechte verbindingslijn 85">
            <a:extLst>
              <a:ext uri="{FF2B5EF4-FFF2-40B4-BE49-F238E27FC236}">
                <a16:creationId xmlns:a16="http://schemas.microsoft.com/office/drawing/2014/main" id="{77C53D50-8D85-48D1-A7C2-786519A109BD}"/>
              </a:ext>
            </a:extLst>
          </p:cNvPr>
          <p:cNvCxnSpPr>
            <a:cxnSpLocks/>
          </p:cNvCxnSpPr>
          <p:nvPr/>
        </p:nvCxnSpPr>
        <p:spPr>
          <a:xfrm>
            <a:off x="4357045" y="4500548"/>
            <a:ext cx="312841" cy="0"/>
          </a:xfrm>
          <a:prstGeom prst="line">
            <a:avLst/>
          </a:prstGeom>
          <a:noFill/>
          <a:ln w="69850" cap="flat" cmpd="sng" algn="ctr">
            <a:solidFill>
              <a:srgbClr val="E7E6E6"/>
            </a:solidFill>
            <a:prstDash val="solid"/>
            <a:miter lim="800000"/>
          </a:ln>
          <a:effectLst/>
        </p:spPr>
      </p:cxnSp>
      <p:cxnSp>
        <p:nvCxnSpPr>
          <p:cNvPr id="106" name="Rechte verbindingslijn 86">
            <a:extLst>
              <a:ext uri="{FF2B5EF4-FFF2-40B4-BE49-F238E27FC236}">
                <a16:creationId xmlns:a16="http://schemas.microsoft.com/office/drawing/2014/main" id="{17E0D85B-719A-4A0C-8BF4-3969F11C45B9}"/>
              </a:ext>
            </a:extLst>
          </p:cNvPr>
          <p:cNvCxnSpPr>
            <a:cxnSpLocks/>
          </p:cNvCxnSpPr>
          <p:nvPr/>
        </p:nvCxnSpPr>
        <p:spPr>
          <a:xfrm>
            <a:off x="4357045" y="4656215"/>
            <a:ext cx="312841" cy="0"/>
          </a:xfrm>
          <a:prstGeom prst="line">
            <a:avLst/>
          </a:prstGeom>
          <a:noFill/>
          <a:ln w="69850" cap="flat" cmpd="sng" algn="ctr">
            <a:solidFill>
              <a:srgbClr val="E7E6E6"/>
            </a:solidFill>
            <a:prstDash val="solid"/>
            <a:miter lim="800000"/>
          </a:ln>
          <a:effectLst/>
        </p:spPr>
      </p:cxnSp>
      <p:cxnSp>
        <p:nvCxnSpPr>
          <p:cNvPr id="107" name="Rechte verbindingslijn 87">
            <a:extLst>
              <a:ext uri="{FF2B5EF4-FFF2-40B4-BE49-F238E27FC236}">
                <a16:creationId xmlns:a16="http://schemas.microsoft.com/office/drawing/2014/main" id="{D8CE6C83-FCA1-47A6-874F-F93BAEDCB5DF}"/>
              </a:ext>
            </a:extLst>
          </p:cNvPr>
          <p:cNvCxnSpPr>
            <a:cxnSpLocks/>
          </p:cNvCxnSpPr>
          <p:nvPr/>
        </p:nvCxnSpPr>
        <p:spPr>
          <a:xfrm>
            <a:off x="4357045" y="4811882"/>
            <a:ext cx="312841" cy="0"/>
          </a:xfrm>
          <a:prstGeom prst="line">
            <a:avLst/>
          </a:prstGeom>
          <a:noFill/>
          <a:ln w="69850" cap="flat" cmpd="sng" algn="ctr">
            <a:solidFill>
              <a:srgbClr val="E7E6E6"/>
            </a:solidFill>
            <a:prstDash val="solid"/>
            <a:miter lim="800000"/>
          </a:ln>
          <a:effectLst/>
        </p:spPr>
      </p:cxnSp>
      <p:cxnSp>
        <p:nvCxnSpPr>
          <p:cNvPr id="108" name="Rechte verbindingslijn 88">
            <a:extLst>
              <a:ext uri="{FF2B5EF4-FFF2-40B4-BE49-F238E27FC236}">
                <a16:creationId xmlns:a16="http://schemas.microsoft.com/office/drawing/2014/main" id="{519B0E63-7DB5-44A3-8CDC-CA6EA5714AB3}"/>
              </a:ext>
            </a:extLst>
          </p:cNvPr>
          <p:cNvCxnSpPr>
            <a:cxnSpLocks/>
          </p:cNvCxnSpPr>
          <p:nvPr/>
        </p:nvCxnSpPr>
        <p:spPr>
          <a:xfrm>
            <a:off x="4357045" y="4967549"/>
            <a:ext cx="312841" cy="0"/>
          </a:xfrm>
          <a:prstGeom prst="line">
            <a:avLst/>
          </a:prstGeom>
          <a:noFill/>
          <a:ln w="69850" cap="flat" cmpd="sng" algn="ctr">
            <a:solidFill>
              <a:srgbClr val="E7E6E6"/>
            </a:solidFill>
            <a:prstDash val="solid"/>
            <a:miter lim="800000"/>
          </a:ln>
          <a:effectLst/>
        </p:spPr>
      </p:cxnSp>
      <p:cxnSp>
        <p:nvCxnSpPr>
          <p:cNvPr id="109" name="Rechte verbindingslijn 89">
            <a:extLst>
              <a:ext uri="{FF2B5EF4-FFF2-40B4-BE49-F238E27FC236}">
                <a16:creationId xmlns:a16="http://schemas.microsoft.com/office/drawing/2014/main" id="{8DB1D996-B867-4EB6-8F09-53E5836A76F3}"/>
              </a:ext>
            </a:extLst>
          </p:cNvPr>
          <p:cNvCxnSpPr>
            <a:cxnSpLocks/>
          </p:cNvCxnSpPr>
          <p:nvPr/>
        </p:nvCxnSpPr>
        <p:spPr>
          <a:xfrm>
            <a:off x="4357045" y="5123218"/>
            <a:ext cx="312841" cy="0"/>
          </a:xfrm>
          <a:prstGeom prst="line">
            <a:avLst/>
          </a:prstGeom>
          <a:noFill/>
          <a:ln w="69850" cap="flat" cmpd="sng" algn="ctr">
            <a:solidFill>
              <a:srgbClr val="E7E6E6"/>
            </a:solidFill>
            <a:prstDash val="solid"/>
            <a:miter lim="800000"/>
          </a:ln>
          <a:effectLst/>
        </p:spPr>
      </p:cxnSp>
      <p:cxnSp>
        <p:nvCxnSpPr>
          <p:cNvPr id="110" name="Rechte verbindingslijn 90">
            <a:extLst>
              <a:ext uri="{FF2B5EF4-FFF2-40B4-BE49-F238E27FC236}">
                <a16:creationId xmlns:a16="http://schemas.microsoft.com/office/drawing/2014/main" id="{78B73F2D-1CB3-45EE-BEFA-E8CF99132F33}"/>
              </a:ext>
            </a:extLst>
          </p:cNvPr>
          <p:cNvCxnSpPr>
            <a:cxnSpLocks/>
          </p:cNvCxnSpPr>
          <p:nvPr/>
        </p:nvCxnSpPr>
        <p:spPr>
          <a:xfrm>
            <a:off x="4357045" y="5309197"/>
            <a:ext cx="312841" cy="0"/>
          </a:xfrm>
          <a:prstGeom prst="line">
            <a:avLst/>
          </a:prstGeom>
          <a:noFill/>
          <a:ln w="69850" cap="flat" cmpd="sng" algn="ctr">
            <a:solidFill>
              <a:srgbClr val="E7E6E6"/>
            </a:solidFill>
            <a:prstDash val="solid"/>
            <a:miter lim="800000"/>
          </a:ln>
          <a:effectLst/>
        </p:spPr>
      </p:cxnSp>
      <p:sp>
        <p:nvSpPr>
          <p:cNvPr id="111" name="Rechthoek 91">
            <a:extLst>
              <a:ext uri="{FF2B5EF4-FFF2-40B4-BE49-F238E27FC236}">
                <a16:creationId xmlns:a16="http://schemas.microsoft.com/office/drawing/2014/main" id="{2955CEDB-BBD1-4689-9A53-E9B92BF70D4B}"/>
              </a:ext>
            </a:extLst>
          </p:cNvPr>
          <p:cNvSpPr/>
          <p:nvPr/>
        </p:nvSpPr>
        <p:spPr>
          <a:xfrm>
            <a:off x="2319926" y="2514765"/>
            <a:ext cx="1195145" cy="720855"/>
          </a:xfrm>
          <a:prstGeom prst="rect">
            <a:avLst/>
          </a:prstGeom>
          <a:noFill/>
          <a:ln w="25400" cap="flat" cmpd="sng" algn="ctr">
            <a:solidFill>
              <a:srgbClr val="00ABBD"/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2" name="Rechthoek 92">
            <a:extLst>
              <a:ext uri="{FF2B5EF4-FFF2-40B4-BE49-F238E27FC236}">
                <a16:creationId xmlns:a16="http://schemas.microsoft.com/office/drawing/2014/main" id="{EA7E4356-B213-4FD3-8AA4-6108294E48DA}"/>
              </a:ext>
            </a:extLst>
          </p:cNvPr>
          <p:cNvSpPr/>
          <p:nvPr/>
        </p:nvSpPr>
        <p:spPr>
          <a:xfrm>
            <a:off x="3765668" y="2091771"/>
            <a:ext cx="1195145" cy="591255"/>
          </a:xfrm>
          <a:prstGeom prst="rect">
            <a:avLst/>
          </a:prstGeom>
          <a:noFill/>
          <a:ln w="25400" cap="flat" cmpd="sng" algn="ctr">
            <a:solidFill>
              <a:srgbClr val="00ABBD"/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3" name="Rechthoek 93">
            <a:extLst>
              <a:ext uri="{FF2B5EF4-FFF2-40B4-BE49-F238E27FC236}">
                <a16:creationId xmlns:a16="http://schemas.microsoft.com/office/drawing/2014/main" id="{580A9962-CB84-476B-AF37-7477F06BC39D}"/>
              </a:ext>
            </a:extLst>
          </p:cNvPr>
          <p:cNvSpPr/>
          <p:nvPr/>
        </p:nvSpPr>
        <p:spPr>
          <a:xfrm>
            <a:off x="2319926" y="3450430"/>
            <a:ext cx="1195145" cy="1457665"/>
          </a:xfrm>
          <a:prstGeom prst="rect">
            <a:avLst/>
          </a:prstGeom>
          <a:noFill/>
          <a:ln w="25400" cap="flat" cmpd="sng" algn="ctr">
            <a:solidFill>
              <a:srgbClr val="00ABBD"/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4" name="Rechthoek 94">
            <a:extLst>
              <a:ext uri="{FF2B5EF4-FFF2-40B4-BE49-F238E27FC236}">
                <a16:creationId xmlns:a16="http://schemas.microsoft.com/office/drawing/2014/main" id="{4FABD472-702E-441D-B3DA-0E92EFAAB2FD}"/>
              </a:ext>
            </a:extLst>
          </p:cNvPr>
          <p:cNvSpPr/>
          <p:nvPr/>
        </p:nvSpPr>
        <p:spPr>
          <a:xfrm>
            <a:off x="3944133" y="5175019"/>
            <a:ext cx="1016680" cy="296575"/>
          </a:xfrm>
          <a:prstGeom prst="rect">
            <a:avLst/>
          </a:prstGeom>
          <a:noFill/>
          <a:ln w="25400" cap="flat" cmpd="sng" algn="ctr">
            <a:solidFill>
              <a:srgbClr val="00ABBD"/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5" name="Vrije vorm 95">
            <a:extLst>
              <a:ext uri="{FF2B5EF4-FFF2-40B4-BE49-F238E27FC236}">
                <a16:creationId xmlns:a16="http://schemas.microsoft.com/office/drawing/2014/main" id="{9F1BA4D9-F1D5-4916-8353-2C91902173D9}"/>
              </a:ext>
            </a:extLst>
          </p:cNvPr>
          <p:cNvSpPr/>
          <p:nvPr/>
        </p:nvSpPr>
        <p:spPr>
          <a:xfrm>
            <a:off x="1791621" y="2871788"/>
            <a:ext cx="1457325" cy="3986212"/>
          </a:xfrm>
          <a:custGeom>
            <a:avLst/>
            <a:gdLst>
              <a:gd name="connsiteX0" fmla="*/ 528638 w 1457325"/>
              <a:gd name="connsiteY0" fmla="*/ 0 h 3986212"/>
              <a:gd name="connsiteX1" fmla="*/ 0 w 1457325"/>
              <a:gd name="connsiteY1" fmla="*/ 0 h 3986212"/>
              <a:gd name="connsiteX2" fmla="*/ 0 w 1457325"/>
              <a:gd name="connsiteY2" fmla="*/ 3543300 h 3986212"/>
              <a:gd name="connsiteX3" fmla="*/ 1457325 w 1457325"/>
              <a:gd name="connsiteY3" fmla="*/ 3543300 h 3986212"/>
              <a:gd name="connsiteX4" fmla="*/ 1457325 w 1457325"/>
              <a:gd name="connsiteY4" fmla="*/ 3986212 h 3986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57325" h="3986212">
                <a:moveTo>
                  <a:pt x="528638" y="0"/>
                </a:moveTo>
                <a:lnTo>
                  <a:pt x="0" y="0"/>
                </a:lnTo>
                <a:lnTo>
                  <a:pt x="0" y="3543300"/>
                </a:lnTo>
                <a:lnTo>
                  <a:pt x="1457325" y="3543300"/>
                </a:lnTo>
                <a:lnTo>
                  <a:pt x="1457325" y="3986212"/>
                </a:lnTo>
              </a:path>
            </a:pathLst>
          </a:custGeom>
          <a:noFill/>
          <a:ln w="25400" cap="flat" cmpd="sng" algn="ctr">
            <a:solidFill>
              <a:srgbClr val="00ABBD"/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6" name="Vrije vorm 97">
            <a:extLst>
              <a:ext uri="{FF2B5EF4-FFF2-40B4-BE49-F238E27FC236}">
                <a16:creationId xmlns:a16="http://schemas.microsoft.com/office/drawing/2014/main" id="{B1915208-1033-42FD-B9EF-7D64C8AC128D}"/>
              </a:ext>
            </a:extLst>
          </p:cNvPr>
          <p:cNvSpPr/>
          <p:nvPr/>
        </p:nvSpPr>
        <p:spPr>
          <a:xfrm>
            <a:off x="2037172" y="4124971"/>
            <a:ext cx="1503336" cy="2712203"/>
          </a:xfrm>
          <a:custGeom>
            <a:avLst/>
            <a:gdLst>
              <a:gd name="connsiteX0" fmla="*/ 278970 w 1503336"/>
              <a:gd name="connsiteY0" fmla="*/ 0 h 2712203"/>
              <a:gd name="connsiteX1" fmla="*/ 0 w 1503336"/>
              <a:gd name="connsiteY1" fmla="*/ 0 h 2712203"/>
              <a:gd name="connsiteX2" fmla="*/ 0 w 1503336"/>
              <a:gd name="connsiteY2" fmla="*/ 2092271 h 2712203"/>
              <a:gd name="connsiteX3" fmla="*/ 1503336 w 1503336"/>
              <a:gd name="connsiteY3" fmla="*/ 2092271 h 2712203"/>
              <a:gd name="connsiteX4" fmla="*/ 1503336 w 1503336"/>
              <a:gd name="connsiteY4" fmla="*/ 2712203 h 2712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3336" h="2712203">
                <a:moveTo>
                  <a:pt x="278970" y="0"/>
                </a:moveTo>
                <a:lnTo>
                  <a:pt x="0" y="0"/>
                </a:lnTo>
                <a:lnTo>
                  <a:pt x="0" y="2092271"/>
                </a:lnTo>
                <a:lnTo>
                  <a:pt x="1503336" y="2092271"/>
                </a:lnTo>
                <a:lnTo>
                  <a:pt x="1503336" y="2712203"/>
                </a:lnTo>
              </a:path>
            </a:pathLst>
          </a:custGeom>
          <a:noFill/>
          <a:ln w="25400" cap="flat" cmpd="sng" algn="ctr">
            <a:solidFill>
              <a:srgbClr val="00ABBD"/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7" name="Vrije vorm 98">
            <a:extLst>
              <a:ext uri="{FF2B5EF4-FFF2-40B4-BE49-F238E27FC236}">
                <a16:creationId xmlns:a16="http://schemas.microsoft.com/office/drawing/2014/main" id="{6300684E-114E-4CD8-AC1F-BCCF8B576DC7}"/>
              </a:ext>
            </a:extLst>
          </p:cNvPr>
          <p:cNvSpPr/>
          <p:nvPr/>
        </p:nvSpPr>
        <p:spPr>
          <a:xfrm>
            <a:off x="4106196" y="2381411"/>
            <a:ext cx="1325105" cy="4448014"/>
          </a:xfrm>
          <a:custGeom>
            <a:avLst/>
            <a:gdLst>
              <a:gd name="connsiteX0" fmla="*/ 860156 w 1325105"/>
              <a:gd name="connsiteY0" fmla="*/ 0 h 4448014"/>
              <a:gd name="connsiteX1" fmla="*/ 1325105 w 1325105"/>
              <a:gd name="connsiteY1" fmla="*/ 0 h 4448014"/>
              <a:gd name="connsiteX2" fmla="*/ 1325105 w 1325105"/>
              <a:gd name="connsiteY2" fmla="*/ 4045058 h 4448014"/>
              <a:gd name="connsiteX3" fmla="*/ 0 w 1325105"/>
              <a:gd name="connsiteY3" fmla="*/ 4045058 h 4448014"/>
              <a:gd name="connsiteX4" fmla="*/ 0 w 1325105"/>
              <a:gd name="connsiteY4" fmla="*/ 4448014 h 44480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5105" h="4448014">
                <a:moveTo>
                  <a:pt x="860156" y="0"/>
                </a:moveTo>
                <a:lnTo>
                  <a:pt x="1325105" y="0"/>
                </a:lnTo>
                <a:lnTo>
                  <a:pt x="1325105" y="4045058"/>
                </a:lnTo>
                <a:lnTo>
                  <a:pt x="0" y="4045058"/>
                </a:lnTo>
                <a:lnTo>
                  <a:pt x="0" y="4448014"/>
                </a:lnTo>
              </a:path>
            </a:pathLst>
          </a:custGeom>
          <a:noFill/>
          <a:ln w="25400" cap="flat" cmpd="sng" algn="ctr">
            <a:solidFill>
              <a:srgbClr val="00ABBD"/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4" name="Grafik 12">
            <a:extLst>
              <a:ext uri="{FF2B5EF4-FFF2-40B4-BE49-F238E27FC236}">
                <a16:creationId xmlns:a16="http://schemas.microsoft.com/office/drawing/2014/main" id="{CA5B93B7-63E0-461E-94A4-35C53953702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5408" y="708761"/>
            <a:ext cx="555669" cy="555669"/>
          </a:xfrm>
          <a:prstGeom prst="rect">
            <a:avLst/>
          </a:prstGeom>
        </p:spPr>
      </p:pic>
      <p:pic>
        <p:nvPicPr>
          <p:cNvPr id="45" name="Grafik 13">
            <a:extLst>
              <a:ext uri="{FF2B5EF4-FFF2-40B4-BE49-F238E27FC236}">
                <a16:creationId xmlns:a16="http://schemas.microsoft.com/office/drawing/2014/main" id="{C5711638-D6F4-43DC-A017-D48E0B0C034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96193" y="863462"/>
            <a:ext cx="1539737" cy="297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766891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E5AF2977-B694-814F-83E1-FE83D8F4E46D}"/>
              </a:ext>
            </a:extLst>
          </p:cNvPr>
          <p:cNvSpPr/>
          <p:nvPr/>
        </p:nvSpPr>
        <p:spPr>
          <a:xfrm>
            <a:off x="1065178" y="738707"/>
            <a:ext cx="736387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600" dirty="0">
                <a:solidFill>
                  <a:schemeClr val="accent5"/>
                </a:solidFill>
              </a:rPr>
              <a:t>Services | Technical details and Pricing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1EEA7AC0-2FE9-4D25-BAC7-1B46427F31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9052515"/>
              </p:ext>
            </p:extLst>
          </p:nvPr>
        </p:nvGraphicFramePr>
        <p:xfrm>
          <a:off x="1065178" y="2244000"/>
          <a:ext cx="9631397" cy="1323044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928743">
                  <a:extLst>
                    <a:ext uri="{9D8B030D-6E8A-4147-A177-3AD203B41FA5}">
                      <a16:colId xmlns:a16="http://schemas.microsoft.com/office/drawing/2014/main" val="269740705"/>
                    </a:ext>
                  </a:extLst>
                </a:gridCol>
                <a:gridCol w="1612136">
                  <a:extLst>
                    <a:ext uri="{9D8B030D-6E8A-4147-A177-3AD203B41FA5}">
                      <a16:colId xmlns:a16="http://schemas.microsoft.com/office/drawing/2014/main" val="2843106790"/>
                    </a:ext>
                  </a:extLst>
                </a:gridCol>
                <a:gridCol w="1530681">
                  <a:extLst>
                    <a:ext uri="{9D8B030D-6E8A-4147-A177-3AD203B41FA5}">
                      <a16:colId xmlns:a16="http://schemas.microsoft.com/office/drawing/2014/main" val="1999572945"/>
                    </a:ext>
                  </a:extLst>
                </a:gridCol>
                <a:gridCol w="1530681">
                  <a:extLst>
                    <a:ext uri="{9D8B030D-6E8A-4147-A177-3AD203B41FA5}">
                      <a16:colId xmlns:a16="http://schemas.microsoft.com/office/drawing/2014/main" val="1380345009"/>
                    </a:ext>
                  </a:extLst>
                </a:gridCol>
                <a:gridCol w="2029156">
                  <a:extLst>
                    <a:ext uri="{9D8B030D-6E8A-4147-A177-3AD203B41FA5}">
                      <a16:colId xmlns:a16="http://schemas.microsoft.com/office/drawing/2014/main" val="2340645150"/>
                    </a:ext>
                  </a:extLst>
                </a:gridCol>
              </a:tblGrid>
              <a:tr h="511726">
                <a:tc>
                  <a:txBody>
                    <a:bodyPr/>
                    <a:lstStyle/>
                    <a:p>
                      <a:endParaRPr lang="en-US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/>
                        <a:t>Platfor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noProof="0" dirty="0"/>
                        <a:t>API</a:t>
                      </a:r>
                      <a:endParaRPr lang="en-US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Licens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/>
                        <a:t> Pricin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86290027"/>
                  </a:ext>
                </a:extLst>
              </a:tr>
              <a:tr h="811318">
                <a:tc>
                  <a:txBody>
                    <a:bodyPr/>
                    <a:lstStyle/>
                    <a:p>
                      <a:endParaRPr lang="en-US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noProof="0" dirty="0">
                        <a:solidFill>
                          <a:schemeClr val="accent5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>
                          <a:solidFill>
                            <a:schemeClr val="accent5"/>
                          </a:solidFill>
                        </a:rPr>
                        <a:t>Subscrip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>
                          <a:solidFill>
                            <a:schemeClr val="accent5"/>
                          </a:solidFill>
                        </a:rPr>
                        <a:t>Price per invoic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26741955"/>
                  </a:ext>
                </a:extLst>
              </a:tr>
            </a:tbl>
          </a:graphicData>
        </a:graphic>
      </p:graphicFrame>
      <p:pic>
        <p:nvPicPr>
          <p:cNvPr id="17" name="Grafik 12">
            <a:extLst>
              <a:ext uri="{FF2B5EF4-FFF2-40B4-BE49-F238E27FC236}">
                <a16:creationId xmlns:a16="http://schemas.microsoft.com/office/drawing/2014/main" id="{94C20C9A-BBCD-4D34-B2FD-18FC202B9C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8267" y="2827847"/>
            <a:ext cx="555669" cy="555669"/>
          </a:xfrm>
          <a:prstGeom prst="rect">
            <a:avLst/>
          </a:prstGeom>
        </p:spPr>
      </p:pic>
      <p:pic>
        <p:nvPicPr>
          <p:cNvPr id="18" name="Grafik 13">
            <a:extLst>
              <a:ext uri="{FF2B5EF4-FFF2-40B4-BE49-F238E27FC236}">
                <a16:creationId xmlns:a16="http://schemas.microsoft.com/office/drawing/2014/main" id="{B68936BC-13BA-4987-B2BC-64680BD859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59052" y="2982548"/>
            <a:ext cx="1539737" cy="297449"/>
          </a:xfrm>
          <a:prstGeom prst="rect">
            <a:avLst/>
          </a:prstGeom>
        </p:spPr>
      </p:pic>
      <p:pic>
        <p:nvPicPr>
          <p:cNvPr id="2050" name="Picture 2" descr="K8S Multi-Node Cluster On AWS Using Ansible and Launching A WordPress  Application With MYSQL Database in | by Vinodha kumara | Medium">
            <a:extLst>
              <a:ext uri="{FF2B5EF4-FFF2-40B4-BE49-F238E27FC236}">
                <a16:creationId xmlns:a16="http://schemas.microsoft.com/office/drawing/2014/main" id="{E5A36FEA-D725-4BDB-956C-11C172B607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5518" y="2954025"/>
            <a:ext cx="885825" cy="4294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4" descr="RESTful API best practices | RESTful API Designing guidelines |  Code4developers">
            <a:extLst>
              <a:ext uri="{FF2B5EF4-FFF2-40B4-BE49-F238E27FC236}">
                <a16:creationId xmlns:a16="http://schemas.microsoft.com/office/drawing/2014/main" id="{E5404634-4471-4401-AEBD-4F9BBA4DB5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>
                        <a14:foregroundMark x1="17853" y1="87082" x2="21182" y2="86977"/>
                        <a14:foregroundMark x1="13793" y1="87209" x2="14856" y2="87176"/>
                        <a14:foregroundMark x1="32197" y1="85814" x2="32266" y2="86977"/>
                        <a14:foregroundMark x1="32183" y1="85581" x2="32197" y2="85814"/>
                        <a14:foregroundMark x1="32172" y1="85388" x2="32183" y2="85581"/>
                        <a14:foregroundMark x1="40543" y1="82438" x2="40118" y2="83057"/>
                        <a14:foregroundMark x1="42857" y1="79070" x2="42046" y2="80250"/>
                        <a14:foregroundMark x1="46552" y1="78837" x2="52463" y2="78837"/>
                        <a14:foregroundMark x1="68433" y1="87734" x2="68803" y2="87762"/>
                        <a14:foregroundMark x1="74631" y1="87442" x2="75123" y2="84651"/>
                        <a14:foregroundMark x1="85714" y1="78605" x2="86453" y2="87674"/>
                        <a14:backgroundMark x1="16502" y1="85814" x2="17980" y2="86977"/>
                        <a14:backgroundMark x1="18719" y1="87209" x2="18719" y2="87209"/>
                        <a14:backgroundMark x1="28325" y1="84884" x2="32512" y2="84884"/>
                        <a14:backgroundMark x1="28818" y1="81395" x2="33251" y2="81395"/>
                        <a14:backgroundMark x1="32266" y1="85581" x2="32266" y2="85581"/>
                        <a14:backgroundMark x1="32020" y1="85814" x2="32020" y2="85814"/>
                        <a14:backgroundMark x1="38670" y1="84651" x2="40394" y2="85349"/>
                        <a14:backgroundMark x1="42857" y1="81628" x2="39655" y2="80930"/>
                        <a14:backgroundMark x1="42118" y1="80698" x2="42118" y2="80698"/>
                        <a14:backgroundMark x1="41872" y1="80233" x2="41872" y2="80233"/>
                        <a14:backgroundMark x1="65764" y1="83256" x2="65764" y2="83256"/>
                        <a14:backgroundMark x1="65025" y1="87209" x2="65025" y2="87209"/>
                        <a14:backgroundMark x1="65025" y1="87209" x2="67241" y2="87209"/>
                        <a14:backgroundMark x1="64039" y1="87674" x2="68473" y2="87674"/>
                        <a14:backgroundMark x1="64039" y1="86279" x2="62808" y2="88372"/>
                        <a14:backgroundMark x1="67980" y1="88372" x2="68966" y2="89302"/>
                        <a14:backgroundMark x1="68227" y1="88140" x2="68719" y2="8860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0528" y="2890307"/>
            <a:ext cx="555669" cy="588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354154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BAB7C7-60AD-4888-B266-A6651B8460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RIS - Commercial Benefit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FE4422C-A1CD-4C42-92A4-8D93B8ABAB37}"/>
              </a:ext>
            </a:extLst>
          </p:cNvPr>
          <p:cNvGrpSpPr/>
          <p:nvPr/>
        </p:nvGrpSpPr>
        <p:grpSpPr>
          <a:xfrm>
            <a:off x="1023487" y="1457223"/>
            <a:ext cx="4595260" cy="2267857"/>
            <a:chOff x="1023487" y="1457223"/>
            <a:chExt cx="4595260" cy="2267857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F94D2F33-2BAB-47C3-8A67-21C94D5E2B7F}"/>
                </a:ext>
              </a:extLst>
            </p:cNvPr>
            <p:cNvSpPr/>
            <p:nvPr/>
          </p:nvSpPr>
          <p:spPr>
            <a:xfrm>
              <a:off x="1023487" y="1457223"/>
              <a:ext cx="4595260" cy="2267857"/>
            </a:xfrm>
            <a:prstGeom prst="roundRect">
              <a:avLst/>
            </a:prstGeom>
            <a:solidFill>
              <a:schemeClr val="accent5"/>
            </a:solidFill>
            <a:ln>
              <a:solidFill>
                <a:srgbClr val="46A7BD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en-US" b="1" dirty="0"/>
                <a:t>Good market value and reputation</a:t>
              </a:r>
            </a:p>
          </p:txBody>
        </p:sp>
        <p:pic>
          <p:nvPicPr>
            <p:cNvPr id="11268" name="Picture 4" descr="Bunk Twin Bed - Book a Bed Hostel - Backpacker Poshtel Phuket">
              <a:extLst>
                <a:ext uri="{FF2B5EF4-FFF2-40B4-BE49-F238E27FC236}">
                  <a16:creationId xmlns:a16="http://schemas.microsoft.com/office/drawing/2014/main" id="{B08EA203-5A07-4EB7-8483-DD169E6A0B8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5778" b="96444" l="9778" r="89778">
                          <a14:foregroundMark x1="47556" y1="5778" x2="47556" y2="5778"/>
                          <a14:foregroundMark x1="31111" y1="91556" x2="31111" y2="91556"/>
                          <a14:foregroundMark x1="33333" y1="95111" x2="33333" y2="95111"/>
                          <a14:foregroundMark x1="68444" y1="96000" x2="68444" y2="96000"/>
                          <a14:foregroundMark x1="33778" y1="96444" x2="33778" y2="96444"/>
                          <a14:foregroundMark x1="43556" y1="32000" x2="43556" y2="32000"/>
                          <a14:foregroundMark x1="51111" y1="23556" x2="51111" y2="23556"/>
                          <a14:backgroundMark x1="33778" y1="96889" x2="33778" y2="96889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32321" y="1578544"/>
              <a:ext cx="1722921" cy="17229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01773EBD-B54B-4962-ADD2-9495B160BB7E}"/>
              </a:ext>
            </a:extLst>
          </p:cNvPr>
          <p:cNvGrpSpPr/>
          <p:nvPr/>
        </p:nvGrpSpPr>
        <p:grpSpPr>
          <a:xfrm>
            <a:off x="5962939" y="1457223"/>
            <a:ext cx="4595260" cy="2267857"/>
            <a:chOff x="5962939" y="1457223"/>
            <a:chExt cx="4595260" cy="2267857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EBAC6EB8-D05F-4D0F-8586-E383CDABDA43}"/>
                </a:ext>
              </a:extLst>
            </p:cNvPr>
            <p:cNvSpPr/>
            <p:nvPr/>
          </p:nvSpPr>
          <p:spPr>
            <a:xfrm>
              <a:off x="5962939" y="1457223"/>
              <a:ext cx="4595260" cy="2267857"/>
            </a:xfrm>
            <a:prstGeom prst="roundRect">
              <a:avLst/>
            </a:prstGeom>
            <a:solidFill>
              <a:schemeClr val="accent5"/>
            </a:solidFill>
            <a:ln>
              <a:solidFill>
                <a:srgbClr val="00ABBD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en-US" b="1" dirty="0"/>
                <a:t>Long term support</a:t>
              </a:r>
            </a:p>
          </p:txBody>
        </p:sp>
        <p:pic>
          <p:nvPicPr>
            <p:cNvPr id="11272" name="Picture 8" descr="Support Icon clipart - Font, Line, Design, transparent clip art">
              <a:extLst>
                <a:ext uri="{FF2B5EF4-FFF2-40B4-BE49-F238E27FC236}">
                  <a16:creationId xmlns:a16="http://schemas.microsoft.com/office/drawing/2014/main" id="{147001FC-8F7C-4403-89A9-8AF7352E2BE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556" b="98444" l="3000" r="98667">
                          <a14:foregroundMark x1="31333" y1="20444" x2="20667" y2="36333"/>
                          <a14:foregroundMark x1="20667" y1="36333" x2="12778" y2="43333"/>
                          <a14:foregroundMark x1="12778" y1="43333" x2="8000" y2="42778"/>
                          <a14:foregroundMark x1="20111" y1="13667" x2="26778" y2="20778"/>
                          <a14:foregroundMark x1="26778" y1="20778" x2="29667" y2="17222"/>
                          <a14:foregroundMark x1="34778" y1="21222" x2="44333" y2="17444"/>
                          <a14:foregroundMark x1="44333" y1="17444" x2="55000" y2="16667"/>
                          <a14:foregroundMark x1="55000" y1="16667" x2="47444" y2="9667"/>
                          <a14:foregroundMark x1="47444" y1="9667" x2="52000" y2="11111"/>
                          <a14:foregroundMark x1="45333" y1="9667" x2="49778" y2="556"/>
                          <a14:foregroundMark x1="49778" y1="556" x2="58000" y2="18333"/>
                          <a14:foregroundMark x1="58000" y1="18333" x2="67333" y2="22111"/>
                          <a14:foregroundMark x1="67333" y1="22111" x2="74778" y2="14111"/>
                          <a14:foregroundMark x1="74778" y1="14111" x2="70111" y2="22333"/>
                          <a14:foregroundMark x1="70111" y1="22333" x2="70333" y2="22333"/>
                          <a14:foregroundMark x1="76111" y1="14000" x2="78556" y2="33444"/>
                          <a14:foregroundMark x1="78556" y1="33444" x2="82556" y2="43111"/>
                          <a14:foregroundMark x1="82556" y1="43111" x2="91222" y2="39556"/>
                          <a14:foregroundMark x1="91222" y1="39556" x2="80889" y2="56222"/>
                          <a14:foregroundMark x1="80889" y1="56222" x2="83222" y2="65667"/>
                          <a14:foregroundMark x1="83222" y1="65667" x2="88889" y2="73000"/>
                          <a14:foregroundMark x1="92111" y1="39556" x2="94000" y2="43556"/>
                          <a14:foregroundMark x1="3333" y1="39222" x2="4111" y2="41667"/>
                          <a14:foregroundMark x1="2222" y1="42222" x2="11444" y2="46000"/>
                          <a14:foregroundMark x1="11444" y1="46000" x2="17333" y2="54333"/>
                          <a14:foregroundMark x1="17333" y1="54333" x2="19333" y2="63556"/>
                          <a14:foregroundMark x1="19333" y1="63556" x2="24889" y2="71778"/>
                          <a14:foregroundMark x1="24889" y1="71778" x2="43000" y2="81889"/>
                          <a14:foregroundMark x1="43000" y1="81889" x2="53111" y2="82333"/>
                          <a14:foregroundMark x1="53111" y1="82333" x2="60333" y2="88889"/>
                          <a14:foregroundMark x1="60333" y1="88889" x2="61444" y2="90778"/>
                          <a14:foregroundMark x1="30222" y1="95333" x2="37333" y2="95778"/>
                          <a14:foregroundMark x1="62333" y1="97222" x2="67111" y2="97111"/>
                          <a14:foregroundMark x1="38333" y1="50111" x2="44667" y2="58778"/>
                          <a14:foregroundMark x1="44667" y1="58778" x2="54667" y2="57889"/>
                          <a14:foregroundMark x1="54667" y1="57889" x2="62000" y2="51889"/>
                          <a14:foregroundMark x1="62000" y1="51889" x2="59889" y2="41222"/>
                          <a14:foregroundMark x1="59889" y1="41222" x2="53667" y2="38778"/>
                          <a14:foregroundMark x1="98667" y1="43667" x2="98667" y2="43667"/>
                          <a14:foregroundMark x1="35111" y1="98000" x2="35111" y2="98000"/>
                          <a14:foregroundMark x1="62778" y1="98444" x2="62778" y2="98444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72044" y="1651479"/>
              <a:ext cx="1577050" cy="15770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DFB04A72-CCA5-4061-9FC3-0D75A136651D}"/>
              </a:ext>
            </a:extLst>
          </p:cNvPr>
          <p:cNvGrpSpPr/>
          <p:nvPr/>
        </p:nvGrpSpPr>
        <p:grpSpPr>
          <a:xfrm>
            <a:off x="1023487" y="4220034"/>
            <a:ext cx="4595260" cy="2267857"/>
            <a:chOff x="1023487" y="4220034"/>
            <a:chExt cx="4595260" cy="2267857"/>
          </a:xfrm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D6816688-E51C-4A8A-8D54-4300EA7D71BD}"/>
                </a:ext>
              </a:extLst>
            </p:cNvPr>
            <p:cNvSpPr/>
            <p:nvPr/>
          </p:nvSpPr>
          <p:spPr>
            <a:xfrm>
              <a:off x="1023487" y="4220034"/>
              <a:ext cx="4595260" cy="2267857"/>
            </a:xfrm>
            <a:prstGeom prst="roundRect">
              <a:avLst/>
            </a:prstGeom>
            <a:solidFill>
              <a:schemeClr val="accent5"/>
            </a:solidFill>
            <a:ln>
              <a:solidFill>
                <a:srgbClr val="00ABBD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en-US" b="1" dirty="0"/>
                <a:t>Customer oriented roadmap</a:t>
              </a:r>
            </a:p>
          </p:txBody>
        </p:sp>
        <p:pic>
          <p:nvPicPr>
            <p:cNvPr id="11274" name="Picture 10" descr="Project Plan Icons - Download Free Vector Icons | Noun Project">
              <a:extLst>
                <a:ext uri="{FF2B5EF4-FFF2-40B4-BE49-F238E27FC236}">
                  <a16:creationId xmlns:a16="http://schemas.microsoft.com/office/drawing/2014/main" id="{D2DA05CD-65C6-4724-900B-EB9F1EA2DE5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138" b="9736"/>
            <a:stretch/>
          </p:blipFill>
          <p:spPr bwMode="auto">
            <a:xfrm>
              <a:off x="3321117" y="4402648"/>
              <a:ext cx="2004124" cy="16459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276" name="Picture 12" descr="Concentration Camp Computer Icons Clip Art Royalty - Customer Icon ...">
              <a:extLst>
                <a:ext uri="{FF2B5EF4-FFF2-40B4-BE49-F238E27FC236}">
                  <a16:creationId xmlns:a16="http://schemas.microsoft.com/office/drawing/2014/main" id="{5866B2B4-8F89-4F4D-A07B-BEA8407AE4E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ackgroundRemoval t="9494" b="89557" l="6023" r="91705">
                          <a14:foregroundMark x1="16364" y1="41772" x2="12425" y2="44682"/>
                          <a14:foregroundMark x1="9682" y1="49575" x2="8409" y2="53797"/>
                          <a14:foregroundMark x1="8409" y1="53797" x2="7614" y2="62500"/>
                          <a14:foregroundMark x1="7614" y1="62500" x2="9773" y2="70095"/>
                          <a14:foregroundMark x1="9773" y1="70095" x2="26818" y2="82437"/>
                          <a14:foregroundMark x1="26818" y1="82437" x2="45795" y2="86234"/>
                          <a14:foregroundMark x1="45795" y1="86234" x2="52159" y2="85127"/>
                          <a14:foregroundMark x1="52159" y1="85127" x2="58068" y2="85601"/>
                          <a14:foregroundMark x1="58068" y1="85601" x2="79659" y2="80380"/>
                          <a14:foregroundMark x1="79659" y1="80380" x2="89886" y2="68196"/>
                          <a14:foregroundMark x1="89886" y1="68196" x2="92386" y2="58544"/>
                          <a14:foregroundMark x1="92386" y1="58544" x2="91804" y2="50437"/>
                          <a14:foregroundMark x1="90519" y1="48025" x2="84205" y2="42563"/>
                          <a14:foregroundMark x1="6136" y1="55222" x2="6136" y2="63291"/>
                          <a14:foregroundMark x1="6136" y1="63291" x2="6591" y2="65665"/>
                          <a14:foregroundMark x1="16136" y1="59810" x2="19205" y2="52373"/>
                          <a14:foregroundMark x1="19205" y1="52373" x2="24545" y2="48892"/>
                          <a14:foregroundMark x1="24545" y1="48892" x2="23523" y2="57437"/>
                          <a14:foregroundMark x1="23523" y1="57437" x2="29294" y2="57437"/>
                          <a14:foregroundMark x1="31061" y1="56403" x2="36023" y2="42880"/>
                          <a14:foregroundMark x1="36023" y1="42880" x2="28068" y2="16930"/>
                          <a14:foregroundMark x1="28068" y1="16930" x2="31477" y2="9494"/>
                          <a14:foregroundMark x1="31477" y1="9494" x2="37273" y2="10759"/>
                          <a14:foregroundMark x1="37273" y1="10759" x2="29205" y2="44937"/>
                          <a14:foregroundMark x1="29205" y1="44937" x2="25341" y2="51582"/>
                          <a14:foregroundMark x1="25341" y1="51582" x2="19773" y2="56013"/>
                          <a14:foregroundMark x1="19773" y1="56013" x2="20795" y2="62342"/>
                          <a14:foregroundMark x1="60795" y1="13608" x2="66136" y2="9652"/>
                          <a14:foregroundMark x1="66136" y1="9652" x2="71136" y2="15032"/>
                          <a14:foregroundMark x1="71136" y1="15032" x2="73864" y2="22943"/>
                          <a14:foregroundMark x1="73864" y1="22943" x2="69545" y2="28165"/>
                          <a14:foregroundMark x1="69545" y1="28165" x2="66591" y2="21361"/>
                          <a14:foregroundMark x1="66591" y1="21361" x2="65000" y2="29589"/>
                          <a14:foregroundMark x1="65000" y1="29589" x2="67045" y2="37658"/>
                          <a14:foregroundMark x1="67045" y1="37658" x2="64091" y2="44462"/>
                          <a14:foregroundMark x1="64091" y1="44462" x2="77841" y2="62342"/>
                          <a14:foregroundMark x1="77841" y1="62342" x2="83409" y2="59019"/>
                          <a14:foregroundMark x1="83409" y1="59019" x2="79773" y2="50316"/>
                          <a14:foregroundMark x1="79773" y1="50316" x2="74318" y2="45570"/>
                          <a14:foregroundMark x1="74318" y1="45570" x2="76023" y2="53006"/>
                          <a14:foregroundMark x1="90227" y1="47468" x2="91364" y2="49842"/>
                          <a14:foregroundMark x1="79773" y1="39082" x2="79091" y2="38608"/>
                          <a14:foregroundMark x1="20455" y1="38924" x2="20455" y2="38924"/>
                          <a14:foregroundMark x1="21136" y1="38291" x2="21136" y2="38291"/>
                          <a14:backgroundMark x1="10682" y1="45411" x2="10682" y2="45411"/>
                          <a14:backgroundMark x1="10682" y1="45570" x2="9886" y2="46361"/>
                          <a14:backgroundMark x1="10682" y1="46044" x2="11477" y2="44937"/>
                          <a14:backgroundMark x1="11364" y1="45095" x2="12386" y2="44778"/>
                          <a14:backgroundMark x1="31477" y1="56962" x2="30000" y2="58386"/>
                          <a14:backgroundMark x1="92165" y1="49186" x2="92500" y2="49525"/>
                          <a14:backgroundMark x1="20341" y1="40190" x2="22045" y2="38924"/>
                          <a14:backgroundMark x1="20000" y1="40032" x2="20341" y2="39399"/>
                          <a14:backgroundMark x1="20909" y1="39241" x2="20000" y2="40032"/>
                          <a14:backgroundMark x1="20909" y1="37975" x2="20909" y2="37975"/>
                          <a14:backgroundMark x1="20909" y1="37975" x2="20909" y2="37975"/>
                          <a14:backgroundMark x1="21136" y1="37816" x2="21136" y2="37816"/>
                          <a14:backgroundMark x1="21023" y1="37975" x2="21023" y2="37975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8159" y="4717219"/>
              <a:ext cx="1565723" cy="11244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Arrow: Right 9">
              <a:extLst>
                <a:ext uri="{FF2B5EF4-FFF2-40B4-BE49-F238E27FC236}">
                  <a16:creationId xmlns:a16="http://schemas.microsoft.com/office/drawing/2014/main" id="{E2B69DE5-88AB-4392-9379-81E5D39967F8}"/>
                </a:ext>
              </a:extLst>
            </p:cNvPr>
            <p:cNvSpPr/>
            <p:nvPr/>
          </p:nvSpPr>
          <p:spPr>
            <a:xfrm>
              <a:off x="2976925" y="5078884"/>
              <a:ext cx="293506" cy="401144"/>
            </a:xfrm>
            <a:prstGeom prst="rightArrow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22405DE-8BCF-4CF3-BF58-35C55BFC723B}"/>
              </a:ext>
            </a:extLst>
          </p:cNvPr>
          <p:cNvGrpSpPr/>
          <p:nvPr/>
        </p:nvGrpSpPr>
        <p:grpSpPr>
          <a:xfrm>
            <a:off x="5962939" y="4220034"/>
            <a:ext cx="4595260" cy="2267857"/>
            <a:chOff x="5962939" y="4220034"/>
            <a:chExt cx="4595260" cy="2267857"/>
          </a:xfrm>
        </p:grpSpPr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1E973BBB-328D-4927-91F4-4F826B609ED5}"/>
                </a:ext>
              </a:extLst>
            </p:cNvPr>
            <p:cNvSpPr/>
            <p:nvPr/>
          </p:nvSpPr>
          <p:spPr>
            <a:xfrm>
              <a:off x="5962939" y="4220034"/>
              <a:ext cx="4595260" cy="2267857"/>
            </a:xfrm>
            <a:prstGeom prst="roundRect">
              <a:avLst/>
            </a:prstGeom>
            <a:solidFill>
              <a:schemeClr val="accent5"/>
            </a:solidFill>
            <a:ln>
              <a:solidFill>
                <a:srgbClr val="46A7BD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en-US" b="1" dirty="0"/>
                <a:t>Commercial flexibility</a:t>
              </a: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577993D8-A753-460C-9ADB-3A33CCBC0D1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ackgroundRemoval t="2550" b="89613" l="1900" r="98800">
                          <a14:foregroundMark x1="13300" y1="41171" x2="18300" y2="35222"/>
                          <a14:foregroundMark x1="18300" y1="35222" x2="19300" y2="28234"/>
                          <a14:foregroundMark x1="19300" y1="28234" x2="16800" y2="20774"/>
                          <a14:foregroundMark x1="16800" y1="20774" x2="19212" y2="18409"/>
                          <a14:foregroundMark x1="23252" y1="15616" x2="27506" y2="15415"/>
                          <a14:foregroundMark x1="31175" y1="13497" x2="38200" y2="2738"/>
                          <a14:foregroundMark x1="41980" y1="3974" x2="53800" y2="7838"/>
                          <a14:foregroundMark x1="38200" y1="2738" x2="39101" y2="3032"/>
                          <a14:foregroundMark x1="53800" y1="7838" x2="60700" y2="5005"/>
                          <a14:foregroundMark x1="60700" y1="5005" x2="67500" y2="8593"/>
                          <a14:foregroundMark x1="67500" y1="8593" x2="68900" y2="16714"/>
                          <a14:foregroundMark x1="68900" y1="16714" x2="74000" y2="22002"/>
                          <a14:foregroundMark x1="74000" y1="22002" x2="79500" y2="23890"/>
                          <a14:foregroundMark x1="34900" y1="5855" x2="36580" y2="5085"/>
                          <a14:foregroundMark x1="42425" y1="3235" x2="45000" y2="6138"/>
                          <a14:foregroundMark x1="40100" y1="46081" x2="35200" y2="39943"/>
                          <a14:foregroundMark x1="35200" y1="39943" x2="34400" y2="32672"/>
                          <a14:foregroundMark x1="34400" y1="32672" x2="38600" y2="26062"/>
                          <a14:foregroundMark x1="43902" y1="23738" x2="47000" y2="22380"/>
                          <a14:foregroundMark x1="38600" y1="26062" x2="40070" y2="25418"/>
                          <a14:foregroundMark x1="47000" y1="22380" x2="54300" y2="23513"/>
                          <a14:foregroundMark x1="59098" y1="32768" x2="61300" y2="37016"/>
                          <a14:foregroundMark x1="54300" y1="23513" x2="55976" y2="26745"/>
                          <a14:foregroundMark x1="61300" y1="37016" x2="58500" y2="41454"/>
                          <a14:foregroundMark x1="28300" y1="52408" x2="22100" y2="48159"/>
                          <a14:foregroundMark x1="22100" y1="48159" x2="14300" y2="49103"/>
                          <a14:foregroundMark x1="14300" y1="49103" x2="8500" y2="54202"/>
                          <a14:foregroundMark x1="8500" y1="54202" x2="7200" y2="62323"/>
                          <a14:foregroundMark x1="7200" y1="62323" x2="8500" y2="70161"/>
                          <a14:foregroundMark x1="8500" y1="70161" x2="12300" y2="76582"/>
                          <a14:foregroundMark x1="12300" y1="76582" x2="19700" y2="79509"/>
                          <a14:foregroundMark x1="19700" y1="79509" x2="24800" y2="76676"/>
                          <a14:foregroundMark x1="20500" y1="68272" x2="13700" y2="64778"/>
                          <a14:foregroundMark x1="13700" y1="64778" x2="13500" y2="64495"/>
                          <a14:foregroundMark x1="20200" y1="57318" x2="25600" y2="62795"/>
                          <a14:foregroundMark x1="25600" y1="62795" x2="29900" y2="56468"/>
                          <a14:foregroundMark x1="29900" y1="56468" x2="26100" y2="52691"/>
                          <a14:foregroundMark x1="7100" y1="53258" x2="2900" y2="59773"/>
                          <a14:foregroundMark x1="2900" y1="59773" x2="2200" y2="67422"/>
                          <a14:foregroundMark x1="2200" y1="67422" x2="6400" y2="73466"/>
                          <a14:foregroundMark x1="6400" y1="73466" x2="9600" y2="75260"/>
                          <a14:foregroundMark x1="1900" y1="63078" x2="1900" y2="63078"/>
                          <a14:foregroundMark x1="36400" y1="60246" x2="33700" y2="66761"/>
                          <a14:foregroundMark x1="33700" y1="66761" x2="34000" y2="74315"/>
                          <a14:foregroundMark x1="34000" y1="74315" x2="37200" y2="81020"/>
                          <a14:foregroundMark x1="37200" y1="81020" x2="43300" y2="86308"/>
                          <a14:foregroundMark x1="43300" y1="86308" x2="51100" y2="89613"/>
                          <a14:foregroundMark x1="51100" y1="89613" x2="58500" y2="89707"/>
                          <a14:foregroundMark x1="58500" y1="89707" x2="73600" y2="82814"/>
                          <a14:foregroundMark x1="73600" y1="82814" x2="76500" y2="75637"/>
                          <a14:foregroundMark x1="76500" y1="75637" x2="77500" y2="66006"/>
                          <a14:foregroundMark x1="77500" y1="66006" x2="74400" y2="58357"/>
                          <a14:foregroundMark x1="74400" y1="58357" x2="68100" y2="52880"/>
                          <a14:foregroundMark x1="68100" y1="52880" x2="60100" y2="50047"/>
                          <a14:foregroundMark x1="60100" y1="50047" x2="44200" y2="51369"/>
                          <a14:foregroundMark x1="44200" y1="51369" x2="38400" y2="56374"/>
                          <a14:foregroundMark x1="38400" y1="56374" x2="35500" y2="61284"/>
                          <a14:foregroundMark x1="55800" y1="56752" x2="50600" y2="61945"/>
                          <a14:foregroundMark x1="50600" y1="61945" x2="53100" y2="68555"/>
                          <a14:foregroundMark x1="53100" y1="68555" x2="59636" y2="72259"/>
                          <a14:foregroundMark x1="59059" y1="76961" x2="58800" y2="79226"/>
                          <a14:foregroundMark x1="59600" y1="72238" x2="59331" y2="74586"/>
                          <a14:foregroundMark x1="58800" y1="79226" x2="51400" y2="78470"/>
                          <a14:foregroundMark x1="51400" y1="78470" x2="49500" y2="76393"/>
                          <a14:foregroundMark x1="83800" y1="49764" x2="76100" y2="46553"/>
                          <a14:foregroundMark x1="76100" y1="46553" x2="70700" y2="41171"/>
                          <a14:foregroundMark x1="70700" y1="41171" x2="73400" y2="34655"/>
                          <a14:foregroundMark x1="73400" y1="34655" x2="79800" y2="30973"/>
                          <a14:foregroundMark x1="79800" y1="30973" x2="87200" y2="31350"/>
                          <a14:foregroundMark x1="87200" y1="31350" x2="93600" y2="36072"/>
                          <a14:foregroundMark x1="93600" y1="36072" x2="95700" y2="43720"/>
                          <a14:foregroundMark x1="95700" y1="43720" x2="94000" y2="51464"/>
                          <a14:foregroundMark x1="94000" y1="51464" x2="88600" y2="57413"/>
                          <a14:foregroundMark x1="88600" y1="57413" x2="84500" y2="58263"/>
                          <a14:foregroundMark x1="98400" y1="41643" x2="98800" y2="48914"/>
                          <a14:foregroundMark x1="98800" y1="48914" x2="98500" y2="49008"/>
                          <a14:foregroundMark x1="88500" y1="41076" x2="85700" y2="41076"/>
                          <a14:foregroundMark x1="59100" y1="73843" x2="59300" y2="75260"/>
                          <a14:foregroundMark x1="59000" y1="32483" x2="59100" y2="33617"/>
                          <a14:foregroundMark x1="59100" y1="33144" x2="59000" y2="31350"/>
                          <a14:backgroundMark x1="20800" y1="16903" x2="19900" y2="18697"/>
                          <a14:backgroundMark x1="20600" y1="16619" x2="21700" y2="17186"/>
                          <a14:backgroundMark x1="29700" y1="15770" x2="32100" y2="14825"/>
                          <a14:backgroundMark x1="36400" y1="5382" x2="41700" y2="4438"/>
                          <a14:backgroundMark x1="30700" y1="15109" x2="29200" y2="16619"/>
                          <a14:backgroundMark x1="56100" y1="27856" x2="58930" y2="32489"/>
                          <a14:backgroundMark x1="55700" y1="26912" x2="57200" y2="28801"/>
                          <a14:backgroundMark x1="44300" y1="24174" x2="40400" y2="25779"/>
                          <a14:backgroundMark x1="59029" y1="75293" x2="59100" y2="76959"/>
                          <a14:backgroundMark x1="58800" y1="74410" x2="59000" y2="74032"/>
                          <a14:backgroundMark x1="59100" y1="74599" x2="59100" y2="75449"/>
                        </a14:backgroundRemoval>
                      </a14:imgEffect>
                    </a14:imgLayer>
                  </a14:imgProps>
                </a:ext>
              </a:extLst>
            </a:blip>
            <a:srcRect b="7649"/>
            <a:stretch/>
          </p:blipFill>
          <p:spPr>
            <a:xfrm>
              <a:off x="7560126" y="4402647"/>
              <a:ext cx="1654949" cy="16185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805099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>
            <a:extLst>
              <a:ext uri="{FF2B5EF4-FFF2-40B4-BE49-F238E27FC236}">
                <a16:creationId xmlns:a16="http://schemas.microsoft.com/office/drawing/2014/main" id="{D8060B6B-6ACC-FF41-8AF8-38E54E8A428B}"/>
              </a:ext>
            </a:extLst>
          </p:cNvPr>
          <p:cNvSpPr/>
          <p:nvPr/>
        </p:nvSpPr>
        <p:spPr>
          <a:xfrm>
            <a:off x="838199" y="576084"/>
            <a:ext cx="9720000" cy="903643"/>
          </a:xfrm>
          <a:prstGeom prst="rect">
            <a:avLst/>
          </a:prstGeom>
          <a:solidFill>
            <a:schemeClr val="bg1"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8562DEE0-A0BC-BA4F-9BB3-2A209DAFE9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stions ?</a:t>
            </a:r>
          </a:p>
        </p:txBody>
      </p:sp>
      <p:pic>
        <p:nvPicPr>
          <p:cNvPr id="2" name="Inhaltsplatzhalter 1">
            <a:extLst>
              <a:ext uri="{FF2B5EF4-FFF2-40B4-BE49-F238E27FC236}">
                <a16:creationId xmlns:a16="http://schemas.microsoft.com/office/drawing/2014/main" id="{936098EE-5946-4B85-8A17-C1CFA1A2378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4298425" y="2701925"/>
            <a:ext cx="3790950" cy="3790950"/>
          </a:xfrm>
          <a:prstGeom prst="rect">
            <a:avLst/>
          </a:prstGeom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91202F3B-3356-704A-A56D-485398A0B07D}"/>
              </a:ext>
            </a:extLst>
          </p:cNvPr>
          <p:cNvSpPr txBox="1"/>
          <p:nvPr/>
        </p:nvSpPr>
        <p:spPr>
          <a:xfrm>
            <a:off x="1405201" y="8798011"/>
            <a:ext cx="10287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/>
              <a:t>"</a:t>
            </a:r>
            <a:r>
              <a:rPr lang="de-DE" sz="900" dirty="0">
                <a:hlinkClick r:id="rId4" tooltip="https://www.workvalue.net/socialmedia/big-data-big-challenge-o-caso-do-voo-mh370-da-malaysian-airlines/"/>
              </a:rPr>
              <a:t>Dieses Foto</a:t>
            </a:r>
            <a:r>
              <a:rPr lang="de-DE" sz="900" dirty="0"/>
              <a:t>" von Unbekannter Autor ist lizenziert gemäß </a:t>
            </a:r>
            <a:r>
              <a:rPr lang="de-DE" sz="900" dirty="0">
                <a:hlinkClick r:id="rId5" tooltip="https://creativecommons.org/licenses/by-nc/3.0/"/>
              </a:rPr>
              <a:t>CC BY-NC</a:t>
            </a:r>
            <a:endParaRPr lang="de-DE" sz="900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C7B6DD67-752B-4168-95A2-BEB96469849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71875" y="1292971"/>
            <a:ext cx="2444050" cy="180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31115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>
            <a:extLst>
              <a:ext uri="{FF2B5EF4-FFF2-40B4-BE49-F238E27FC236}">
                <a16:creationId xmlns:a16="http://schemas.microsoft.com/office/drawing/2014/main" id="{D8060B6B-6ACC-FF41-8AF8-38E54E8A428B}"/>
              </a:ext>
            </a:extLst>
          </p:cNvPr>
          <p:cNvSpPr/>
          <p:nvPr/>
        </p:nvSpPr>
        <p:spPr>
          <a:xfrm>
            <a:off x="838199" y="576084"/>
            <a:ext cx="9720000" cy="903643"/>
          </a:xfrm>
          <a:prstGeom prst="rect">
            <a:avLst/>
          </a:prstGeom>
          <a:solidFill>
            <a:schemeClr val="bg1"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91202F3B-3356-704A-A56D-485398A0B07D}"/>
              </a:ext>
            </a:extLst>
          </p:cNvPr>
          <p:cNvSpPr txBox="1"/>
          <p:nvPr/>
        </p:nvSpPr>
        <p:spPr>
          <a:xfrm>
            <a:off x="1405201" y="8798011"/>
            <a:ext cx="10287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/>
              <a:t>"</a:t>
            </a:r>
            <a:r>
              <a:rPr lang="de-DE" sz="900" dirty="0">
                <a:hlinkClick r:id="rId3" tooltip="https://www.workvalue.net/socialmedia/big-data-big-challenge-o-caso-do-voo-mh370-da-malaysian-airlines/"/>
              </a:rPr>
              <a:t>Dieses Foto</a:t>
            </a:r>
            <a:r>
              <a:rPr lang="de-DE" sz="900" dirty="0"/>
              <a:t>" von Unbekannter Autor ist lizenziert gemäß </a:t>
            </a:r>
            <a:r>
              <a:rPr lang="de-DE" sz="900" dirty="0">
                <a:hlinkClick r:id="rId4" tooltip="https://creativecommons.org/licenses/by-nc/3.0/"/>
              </a:rPr>
              <a:t>CC BY-NC</a:t>
            </a:r>
            <a:endParaRPr lang="de-DE" sz="900" dirty="0"/>
          </a:p>
        </p:txBody>
      </p:sp>
      <p:sp>
        <p:nvSpPr>
          <p:cNvPr id="6" name="Rectangle 26">
            <a:extLst>
              <a:ext uri="{FF2B5EF4-FFF2-40B4-BE49-F238E27FC236}">
                <a16:creationId xmlns:a16="http://schemas.microsoft.com/office/drawing/2014/main" id="{ADFE0147-B42C-417C-97F5-441409BDBCA8}"/>
              </a:ext>
            </a:extLst>
          </p:cNvPr>
          <p:cNvSpPr/>
          <p:nvPr/>
        </p:nvSpPr>
        <p:spPr>
          <a:xfrm>
            <a:off x="0" y="4007867"/>
            <a:ext cx="12192000" cy="1846833"/>
          </a:xfrm>
          <a:prstGeom prst="rect">
            <a:avLst/>
          </a:prstGeom>
          <a:solidFill>
            <a:srgbClr val="00ABBD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1">
            <a:extLst>
              <a:ext uri="{FF2B5EF4-FFF2-40B4-BE49-F238E27FC236}">
                <a16:creationId xmlns:a16="http://schemas.microsoft.com/office/drawing/2014/main" id="{5582515D-AC02-4B58-832A-1D46C905275F}"/>
              </a:ext>
            </a:extLst>
          </p:cNvPr>
          <p:cNvSpPr/>
          <p:nvPr/>
        </p:nvSpPr>
        <p:spPr>
          <a:xfrm>
            <a:off x="1033609" y="2519465"/>
            <a:ext cx="383568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dirty="0">
                <a:solidFill>
                  <a:srgbClr val="00ABBD"/>
                </a:solidFill>
              </a:rPr>
              <a:t>Ask your </a:t>
            </a:r>
            <a:r>
              <a:rPr lang="en-US" sz="2800" dirty="0">
                <a:solidFill>
                  <a:srgbClr val="2E75B6"/>
                </a:solidFill>
              </a:rPr>
              <a:t>Questions</a:t>
            </a:r>
            <a:br>
              <a:rPr lang="en-US" sz="2800" dirty="0">
                <a:solidFill>
                  <a:srgbClr val="00ABBD"/>
                </a:solidFill>
              </a:rPr>
            </a:br>
            <a:r>
              <a:rPr lang="en-US" sz="2800" dirty="0">
                <a:solidFill>
                  <a:srgbClr val="00ABBD"/>
                </a:solidFill>
              </a:rPr>
              <a:t>Answer our </a:t>
            </a:r>
            <a:r>
              <a:rPr lang="en-US" sz="2800" dirty="0">
                <a:solidFill>
                  <a:srgbClr val="2E75B6"/>
                </a:solidFill>
              </a:rPr>
              <a:t>Polls</a:t>
            </a:r>
          </a:p>
        </p:txBody>
      </p:sp>
      <p:pic>
        <p:nvPicPr>
          <p:cNvPr id="10" name="Graphic 6">
            <a:extLst>
              <a:ext uri="{FF2B5EF4-FFF2-40B4-BE49-F238E27FC236}">
                <a16:creationId xmlns:a16="http://schemas.microsoft.com/office/drawing/2014/main" id="{819DB099-E038-4869-9893-F4AE3646C1C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07757" y="617771"/>
            <a:ext cx="3720454" cy="3385334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1" name="TextBox 28">
            <a:extLst>
              <a:ext uri="{FF2B5EF4-FFF2-40B4-BE49-F238E27FC236}">
                <a16:creationId xmlns:a16="http://schemas.microsoft.com/office/drawing/2014/main" id="{C7F4D67C-DC1E-4A6D-8FBF-5D2944A2563C}"/>
              </a:ext>
            </a:extLst>
          </p:cNvPr>
          <p:cNvSpPr txBox="1"/>
          <p:nvPr/>
        </p:nvSpPr>
        <p:spPr>
          <a:xfrm>
            <a:off x="838199" y="452192"/>
            <a:ext cx="569723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600" dirty="0">
                <a:solidFill>
                  <a:schemeClr val="bg1">
                    <a:lumMod val="50000"/>
                  </a:schemeClr>
                </a:solidFill>
              </a:rPr>
              <a:t>WELCOME</a:t>
            </a:r>
          </a:p>
        </p:txBody>
      </p:sp>
      <p:sp>
        <p:nvSpPr>
          <p:cNvPr id="12" name="Rectangle 29">
            <a:extLst>
              <a:ext uri="{FF2B5EF4-FFF2-40B4-BE49-F238E27FC236}">
                <a16:creationId xmlns:a16="http://schemas.microsoft.com/office/drawing/2014/main" id="{F42A897E-8786-4C58-93C0-3D410A2C028B}"/>
              </a:ext>
            </a:extLst>
          </p:cNvPr>
          <p:cNvSpPr/>
          <p:nvPr/>
        </p:nvSpPr>
        <p:spPr>
          <a:xfrm>
            <a:off x="4139214" y="6135103"/>
            <a:ext cx="39135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dirty="0">
                <a:solidFill>
                  <a:srgbClr val="2E75B6"/>
                </a:solidFill>
                <a:latin typeface="+mj-lt"/>
              </a:rPr>
              <a:t>irisdatacapture.com/webinars/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CCEE4F6B-EE48-47FA-86D5-808494EB4D8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59093" y="964780"/>
            <a:ext cx="3017782" cy="1707028"/>
          </a:xfrm>
          <a:prstGeom prst="rect">
            <a:avLst/>
          </a:prstGeom>
        </p:spPr>
      </p:pic>
      <p:grpSp>
        <p:nvGrpSpPr>
          <p:cNvPr id="13" name="Group 19">
            <a:extLst>
              <a:ext uri="{FF2B5EF4-FFF2-40B4-BE49-F238E27FC236}">
                <a16:creationId xmlns:a16="http://schemas.microsoft.com/office/drawing/2014/main" id="{81C35B35-6008-4510-9141-D7E02FEA9767}"/>
              </a:ext>
            </a:extLst>
          </p:cNvPr>
          <p:cNvGrpSpPr/>
          <p:nvPr/>
        </p:nvGrpSpPr>
        <p:grpSpPr>
          <a:xfrm>
            <a:off x="5370910" y="4043954"/>
            <a:ext cx="1703008" cy="1548288"/>
            <a:chOff x="7889566" y="4516370"/>
            <a:chExt cx="1703008" cy="1548288"/>
          </a:xfrm>
        </p:grpSpPr>
        <p:pic>
          <p:nvPicPr>
            <p:cNvPr id="14" name="Graphic 8">
              <a:extLst>
                <a:ext uri="{FF2B5EF4-FFF2-40B4-BE49-F238E27FC236}">
                  <a16:creationId xmlns:a16="http://schemas.microsoft.com/office/drawing/2014/main" id="{93A2306A-372B-41D6-A58E-4CD0A963F35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8346766" y="4818850"/>
              <a:ext cx="1245808" cy="1245808"/>
            </a:xfrm>
            <a:prstGeom prst="rect">
              <a:avLst/>
            </a:prstGeom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5" name="Graphic 17" descr="Speech">
              <a:extLst>
                <a:ext uri="{FF2B5EF4-FFF2-40B4-BE49-F238E27FC236}">
                  <a16:creationId xmlns:a16="http://schemas.microsoft.com/office/drawing/2014/main" id="{B112201F-803A-4B54-A111-9FA9B01B561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889566" y="4516370"/>
              <a:ext cx="914400" cy="914400"/>
            </a:xfrm>
            <a:prstGeom prst="rect">
              <a:avLst/>
            </a:prstGeom>
          </p:spPr>
        </p:pic>
        <p:pic>
          <p:nvPicPr>
            <p:cNvPr id="16" name="Graphic 3" descr="Question Mark">
              <a:extLst>
                <a:ext uri="{FF2B5EF4-FFF2-40B4-BE49-F238E27FC236}">
                  <a16:creationId xmlns:a16="http://schemas.microsoft.com/office/drawing/2014/main" id="{B9B5CC0E-594E-4D5F-A8B5-2382A160DB3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8173787" y="4746661"/>
              <a:ext cx="318910" cy="318910"/>
            </a:xfrm>
            <a:prstGeom prst="rect">
              <a:avLst/>
            </a:prstGeom>
          </p:spPr>
        </p:pic>
      </p:grpSp>
      <p:grpSp>
        <p:nvGrpSpPr>
          <p:cNvPr id="18" name="Group 25">
            <a:extLst>
              <a:ext uri="{FF2B5EF4-FFF2-40B4-BE49-F238E27FC236}">
                <a16:creationId xmlns:a16="http://schemas.microsoft.com/office/drawing/2014/main" id="{CC45096D-744E-47BE-96E7-200A09E7EAA9}"/>
              </a:ext>
            </a:extLst>
          </p:cNvPr>
          <p:cNvGrpSpPr/>
          <p:nvPr/>
        </p:nvGrpSpPr>
        <p:grpSpPr>
          <a:xfrm>
            <a:off x="8383764" y="4043954"/>
            <a:ext cx="1703435" cy="1548288"/>
            <a:chOff x="9765553" y="4516370"/>
            <a:chExt cx="1703435" cy="1548288"/>
          </a:xfrm>
        </p:grpSpPr>
        <p:pic>
          <p:nvPicPr>
            <p:cNvPr id="19" name="Graphic 7">
              <a:extLst>
                <a:ext uri="{FF2B5EF4-FFF2-40B4-BE49-F238E27FC236}">
                  <a16:creationId xmlns:a16="http://schemas.microsoft.com/office/drawing/2014/main" id="{012EA29D-547A-4DC2-893F-4E337FCF23E1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10223180" y="4818850"/>
              <a:ext cx="1245808" cy="1245808"/>
            </a:xfrm>
            <a:prstGeom prst="rect">
              <a:avLst/>
            </a:prstGeom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0" name="Graphic 18" descr="Speech">
              <a:extLst>
                <a:ext uri="{FF2B5EF4-FFF2-40B4-BE49-F238E27FC236}">
                  <a16:creationId xmlns:a16="http://schemas.microsoft.com/office/drawing/2014/main" id="{4175D513-AF61-4B46-9FD9-D33ADD74F15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9765553" y="4516370"/>
              <a:ext cx="914400" cy="914400"/>
            </a:xfrm>
            <a:prstGeom prst="rect">
              <a:avLst/>
            </a:prstGeom>
          </p:spPr>
        </p:pic>
        <p:pic>
          <p:nvPicPr>
            <p:cNvPr id="21" name="Graphic 15" descr="Touch Screen">
              <a:extLst>
                <a:ext uri="{FF2B5EF4-FFF2-40B4-BE49-F238E27FC236}">
                  <a16:creationId xmlns:a16="http://schemas.microsoft.com/office/drawing/2014/main" id="{E28F64B6-4DB2-453A-B991-B866FA19C6A9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9904651" y="4760993"/>
              <a:ext cx="290245" cy="290245"/>
            </a:xfrm>
            <a:prstGeom prst="rect">
              <a:avLst/>
            </a:prstGeom>
          </p:spPr>
        </p:pic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A861E05D-3BE8-434C-9BA8-6A2D2764DA86}"/>
                </a:ext>
              </a:extLst>
            </p:cNvPr>
            <p:cNvCxnSpPr/>
            <p:nvPr/>
          </p:nvCxnSpPr>
          <p:spPr>
            <a:xfrm>
              <a:off x="10151165" y="4814087"/>
              <a:ext cx="296529" cy="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4C70FCC4-BB7E-4C80-A62D-604DC2A680E9}"/>
                </a:ext>
              </a:extLst>
            </p:cNvPr>
            <p:cNvCxnSpPr/>
            <p:nvPr/>
          </p:nvCxnSpPr>
          <p:spPr>
            <a:xfrm>
              <a:off x="10146520" y="4901352"/>
              <a:ext cx="296529" cy="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0ACBF63A-07CD-4733-9418-A2A4C7A3B730}"/>
                </a:ext>
              </a:extLst>
            </p:cNvPr>
            <p:cNvCxnSpPr/>
            <p:nvPr/>
          </p:nvCxnSpPr>
          <p:spPr>
            <a:xfrm>
              <a:off x="10155525" y="4982323"/>
              <a:ext cx="287809" cy="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Rechteck 3">
            <a:extLst>
              <a:ext uri="{FF2B5EF4-FFF2-40B4-BE49-F238E27FC236}">
                <a16:creationId xmlns:a16="http://schemas.microsoft.com/office/drawing/2014/main" id="{9E4E16B4-C944-47C3-B036-A38DB04B4CF7}"/>
              </a:ext>
            </a:extLst>
          </p:cNvPr>
          <p:cNvSpPr/>
          <p:nvPr/>
        </p:nvSpPr>
        <p:spPr>
          <a:xfrm>
            <a:off x="2385524" y="4318877"/>
            <a:ext cx="528531" cy="20832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26" name="Group 20">
            <a:extLst>
              <a:ext uri="{FF2B5EF4-FFF2-40B4-BE49-F238E27FC236}">
                <a16:creationId xmlns:a16="http://schemas.microsoft.com/office/drawing/2014/main" id="{591A2D17-EEAF-4F9D-8B46-9650E2AD5BF7}"/>
              </a:ext>
            </a:extLst>
          </p:cNvPr>
          <p:cNvGrpSpPr/>
          <p:nvPr/>
        </p:nvGrpSpPr>
        <p:grpSpPr>
          <a:xfrm>
            <a:off x="2208560" y="4043954"/>
            <a:ext cx="1703007" cy="1548287"/>
            <a:chOff x="6013580" y="4516370"/>
            <a:chExt cx="1703007" cy="1548287"/>
          </a:xfrm>
        </p:grpSpPr>
        <p:pic>
          <p:nvPicPr>
            <p:cNvPr id="27" name="Graphic 10">
              <a:extLst>
                <a:ext uri="{FF2B5EF4-FFF2-40B4-BE49-F238E27FC236}">
                  <a16:creationId xmlns:a16="http://schemas.microsoft.com/office/drawing/2014/main" id="{8FC143F9-B114-4394-AA9A-58FDEF1FE119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6470780" y="4818850"/>
              <a:ext cx="1245807" cy="1245807"/>
            </a:xfrm>
            <a:prstGeom prst="rect">
              <a:avLst/>
            </a:prstGeom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8" name="Graphic 13" descr="Chat bubble">
              <a:extLst>
                <a:ext uri="{FF2B5EF4-FFF2-40B4-BE49-F238E27FC236}">
                  <a16:creationId xmlns:a16="http://schemas.microsoft.com/office/drawing/2014/main" id="{D51B3960-9612-4593-B92D-73966D74B28F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 flipH="1">
              <a:off x="6013580" y="4516370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4339303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21">
            <a:extLst>
              <a:ext uri="{FF2B5EF4-FFF2-40B4-BE49-F238E27FC236}">
                <a16:creationId xmlns:a16="http://schemas.microsoft.com/office/drawing/2014/main" id="{D8060B6B-6ACC-FF41-8AF8-38E54E8A428B}"/>
              </a:ext>
            </a:extLst>
          </p:cNvPr>
          <p:cNvSpPr/>
          <p:nvPr/>
        </p:nvSpPr>
        <p:spPr>
          <a:xfrm>
            <a:off x="838199" y="576084"/>
            <a:ext cx="9720000" cy="903643"/>
          </a:xfrm>
          <a:prstGeom prst="rect">
            <a:avLst/>
          </a:prstGeom>
          <a:solidFill>
            <a:schemeClr val="bg1"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91202F3B-3356-704A-A56D-485398A0B07D}"/>
              </a:ext>
            </a:extLst>
          </p:cNvPr>
          <p:cNvSpPr txBox="1"/>
          <p:nvPr/>
        </p:nvSpPr>
        <p:spPr>
          <a:xfrm>
            <a:off x="1405201" y="8798011"/>
            <a:ext cx="10287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/>
              <a:t>"</a:t>
            </a:r>
            <a:r>
              <a:rPr lang="de-DE" sz="900" dirty="0">
                <a:hlinkClick r:id="rId3" tooltip="https://www.workvalue.net/socialmedia/big-data-big-challenge-o-caso-do-voo-mh370-da-malaysian-airlines/"/>
              </a:rPr>
              <a:t>Dieses Foto</a:t>
            </a:r>
            <a:r>
              <a:rPr lang="de-DE" sz="900" dirty="0"/>
              <a:t>" von Unbekannter Autor ist lizenziert gemäß </a:t>
            </a:r>
            <a:r>
              <a:rPr lang="de-DE" sz="900" dirty="0">
                <a:hlinkClick r:id="rId4" tooltip="https://creativecommons.org/licenses/by-nc/3.0/"/>
              </a:rPr>
              <a:t>CC BY-NC</a:t>
            </a:r>
            <a:endParaRPr lang="de-DE" sz="900" dirty="0"/>
          </a:p>
        </p:txBody>
      </p:sp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6CC32FC1-927E-43E6-8953-931D0A6B36B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3930054" y="619992"/>
            <a:ext cx="3140077" cy="4351338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2867E83-A672-4659-9814-276A0ACF82B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167049" y="2305264"/>
            <a:ext cx="6024831" cy="3451165"/>
          </a:xfrm>
          <a:prstGeom prst="rect">
            <a:avLst/>
          </a:prstGeom>
        </p:spPr>
      </p:pic>
      <p:cxnSp>
        <p:nvCxnSpPr>
          <p:cNvPr id="14" name="Straight Connector 7">
            <a:extLst>
              <a:ext uri="{FF2B5EF4-FFF2-40B4-BE49-F238E27FC236}">
                <a16:creationId xmlns:a16="http://schemas.microsoft.com/office/drawing/2014/main" id="{4C5674F2-4349-4486-B245-B04FB872BF9C}"/>
              </a:ext>
            </a:extLst>
          </p:cNvPr>
          <p:cNvCxnSpPr/>
          <p:nvPr/>
        </p:nvCxnSpPr>
        <p:spPr>
          <a:xfrm>
            <a:off x="459893" y="6203347"/>
            <a:ext cx="5636107" cy="0"/>
          </a:xfrm>
          <a:prstGeom prst="line">
            <a:avLst/>
          </a:prstGeom>
          <a:ln w="38100">
            <a:solidFill>
              <a:srgbClr val="1A5D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6">
            <a:extLst>
              <a:ext uri="{FF2B5EF4-FFF2-40B4-BE49-F238E27FC236}">
                <a16:creationId xmlns:a16="http://schemas.microsoft.com/office/drawing/2014/main" id="{D92238A6-B766-40FF-80CA-DB5C3764F3E7}"/>
              </a:ext>
            </a:extLst>
          </p:cNvPr>
          <p:cNvSpPr/>
          <p:nvPr/>
        </p:nvSpPr>
        <p:spPr>
          <a:xfrm>
            <a:off x="16533" y="5741682"/>
            <a:ext cx="652282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solidFill>
                  <a:srgbClr val="32BBCA"/>
                </a:solidFill>
              </a:rPr>
              <a:t>https://irisdatacapture.com/webinars/past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E361E39F-938E-41F6-80D0-460828CDE4B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5091" t="5529" r="7260" b="1"/>
          <a:stretch/>
        </p:blipFill>
        <p:spPr>
          <a:xfrm>
            <a:off x="6982718" y="1230088"/>
            <a:ext cx="3653743" cy="5149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66449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>
            <a:extLst>
              <a:ext uri="{FF2B5EF4-FFF2-40B4-BE49-F238E27FC236}">
                <a16:creationId xmlns:a16="http://schemas.microsoft.com/office/drawing/2014/main" id="{C3428D45-71A9-AC48-AAFF-BB951BBDF0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365125"/>
            <a:ext cx="9720000" cy="1325563"/>
          </a:xfrm>
        </p:spPr>
        <p:txBody>
          <a:bodyPr/>
          <a:lstStyle/>
          <a:p>
            <a:r>
              <a:rPr lang="en-US" dirty="0"/>
              <a:t>Integration | Typ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7ED93AE-2210-4893-9131-944C78566154}"/>
              </a:ext>
            </a:extLst>
          </p:cNvPr>
          <p:cNvGrpSpPr/>
          <p:nvPr/>
        </p:nvGrpSpPr>
        <p:grpSpPr>
          <a:xfrm>
            <a:off x="8261598" y="1815071"/>
            <a:ext cx="3945121" cy="4536961"/>
            <a:chOff x="8261598" y="1815071"/>
            <a:chExt cx="3945121" cy="4536961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81FD0EA-20FF-492D-BE99-265271FA241B}"/>
                </a:ext>
              </a:extLst>
            </p:cNvPr>
            <p:cNvGrpSpPr/>
            <p:nvPr/>
          </p:nvGrpSpPr>
          <p:grpSpPr>
            <a:xfrm>
              <a:off x="8261598" y="1818940"/>
              <a:ext cx="3723449" cy="4533092"/>
              <a:chOff x="8261598" y="1818940"/>
              <a:chExt cx="3723449" cy="4533092"/>
            </a:xfrm>
          </p:grpSpPr>
          <p:grpSp>
            <p:nvGrpSpPr>
              <p:cNvPr id="31" name="Gruppieren 60">
                <a:extLst>
                  <a:ext uri="{FF2B5EF4-FFF2-40B4-BE49-F238E27FC236}">
                    <a16:creationId xmlns:a16="http://schemas.microsoft.com/office/drawing/2014/main" id="{5A7AE509-A1C8-4BF8-8AE3-87B6DDDD1FAB}"/>
                  </a:ext>
                </a:extLst>
              </p:cNvPr>
              <p:cNvGrpSpPr/>
              <p:nvPr/>
            </p:nvGrpSpPr>
            <p:grpSpPr>
              <a:xfrm>
                <a:off x="8261598" y="1818940"/>
                <a:ext cx="3723449" cy="4533092"/>
                <a:chOff x="820268" y="2526224"/>
                <a:chExt cx="1612966" cy="1937289"/>
              </a:xfrm>
            </p:grpSpPr>
            <p:sp>
              <p:nvSpPr>
                <p:cNvPr id="33" name="Rechteck 62">
                  <a:extLst>
                    <a:ext uri="{FF2B5EF4-FFF2-40B4-BE49-F238E27FC236}">
                      <a16:creationId xmlns:a16="http://schemas.microsoft.com/office/drawing/2014/main" id="{19A93060-13DB-4437-9C67-5AB22D023B4D}"/>
                    </a:ext>
                  </a:extLst>
                </p:cNvPr>
                <p:cNvSpPr/>
                <p:nvPr/>
              </p:nvSpPr>
              <p:spPr>
                <a:xfrm>
                  <a:off x="822701" y="2526224"/>
                  <a:ext cx="1610533" cy="1193369"/>
                </a:xfrm>
                <a:prstGeom prst="rect">
                  <a:avLst/>
                </a:prstGeom>
                <a:noFill/>
                <a:ln w="25400">
                  <a:solidFill>
                    <a:srgbClr val="47A8BC"/>
                  </a:solidFill>
                </a:ln>
                <a:effectLst>
                  <a:outerShdw blurRad="50800" dist="50800" dir="5400000" algn="ctr" rotWithShape="0">
                    <a:schemeClr val="bg1"/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4" name="Rechteck 63">
                  <a:extLst>
                    <a:ext uri="{FF2B5EF4-FFF2-40B4-BE49-F238E27FC236}">
                      <a16:creationId xmlns:a16="http://schemas.microsoft.com/office/drawing/2014/main" id="{4BC2D5A2-FF3B-4A66-AA4E-9ED94E82849E}"/>
                    </a:ext>
                  </a:extLst>
                </p:cNvPr>
                <p:cNvSpPr/>
                <p:nvPr/>
              </p:nvSpPr>
              <p:spPr>
                <a:xfrm>
                  <a:off x="820268" y="3719593"/>
                  <a:ext cx="1610533" cy="743920"/>
                </a:xfrm>
                <a:prstGeom prst="rect">
                  <a:avLst/>
                </a:prstGeom>
                <a:solidFill>
                  <a:srgbClr val="47A8BC"/>
                </a:solidFill>
                <a:ln w="25400">
                  <a:solidFill>
                    <a:srgbClr val="47A8BC"/>
                  </a:solidFill>
                </a:ln>
                <a:effectLst>
                  <a:outerShdw blurRad="50800" dist="50800" dir="5400000" algn="ctr" rotWithShape="0">
                    <a:schemeClr val="bg1"/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b="1" dirty="0"/>
                </a:p>
                <a:p>
                  <a:pPr algn="ctr"/>
                  <a:r>
                    <a:rPr lang="en-US" sz="2000" b="1" dirty="0"/>
                    <a:t>Integrate a service</a:t>
                  </a:r>
                </a:p>
                <a:p>
                  <a:pPr algn="ctr"/>
                  <a:endParaRPr lang="en-US" b="1" dirty="0"/>
                </a:p>
                <a:p>
                  <a:pPr algn="ctr"/>
                  <a:r>
                    <a:rPr lang="en-US" b="1" i="1" dirty="0"/>
                    <a:t>We put our solutions in the cloud and let you access it as a Service</a:t>
                  </a:r>
                </a:p>
                <a:p>
                  <a:pPr algn="ctr"/>
                  <a:endParaRPr lang="en-US" b="1" dirty="0"/>
                </a:p>
                <a:p>
                  <a:pPr algn="ctr"/>
                  <a:endParaRPr lang="en-US" b="1" dirty="0"/>
                </a:p>
              </p:txBody>
            </p:sp>
          </p:grpSp>
          <p:pic>
            <p:nvPicPr>
              <p:cNvPr id="49" name="Grafik 12">
                <a:extLst>
                  <a:ext uri="{FF2B5EF4-FFF2-40B4-BE49-F238E27FC236}">
                    <a16:creationId xmlns:a16="http://schemas.microsoft.com/office/drawing/2014/main" id="{670DBFD1-3F8E-4DE7-A646-1AB2B184395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8823195" y="2872747"/>
                <a:ext cx="555669" cy="555669"/>
              </a:xfrm>
              <a:prstGeom prst="rect">
                <a:avLst/>
              </a:prstGeom>
            </p:spPr>
          </p:pic>
          <p:pic>
            <p:nvPicPr>
              <p:cNvPr id="50" name="Grafik 13">
                <a:extLst>
                  <a:ext uri="{FF2B5EF4-FFF2-40B4-BE49-F238E27FC236}">
                    <a16:creationId xmlns:a16="http://schemas.microsoft.com/office/drawing/2014/main" id="{16600822-9F0A-45C2-B466-AEB39183DE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9583980" y="3027448"/>
                <a:ext cx="1539737" cy="297449"/>
              </a:xfrm>
              <a:prstGeom prst="rect">
                <a:avLst/>
              </a:prstGeom>
            </p:spPr>
          </p:pic>
        </p:grp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0C34BB0-CF44-4FB6-9E21-B003E22D96E0}"/>
                </a:ext>
              </a:extLst>
            </p:cNvPr>
            <p:cNvSpPr txBox="1"/>
            <p:nvPr/>
          </p:nvSpPr>
          <p:spPr>
            <a:xfrm>
              <a:off x="10939018" y="1815071"/>
              <a:ext cx="126770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BE" b="1" dirty="0">
                  <a:solidFill>
                    <a:srgbClr val="00ABBD"/>
                  </a:solidFill>
                </a:rPr>
                <a:t>SERVICES</a:t>
              </a:r>
              <a:endParaRPr lang="en-US" b="1" dirty="0">
                <a:solidFill>
                  <a:srgbClr val="00ABBD"/>
                </a:solidFill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55F05D13-61A7-4EBC-B9DF-2A2C74AFF1FA}"/>
              </a:ext>
            </a:extLst>
          </p:cNvPr>
          <p:cNvGrpSpPr/>
          <p:nvPr/>
        </p:nvGrpSpPr>
        <p:grpSpPr>
          <a:xfrm>
            <a:off x="4369198" y="1804388"/>
            <a:ext cx="3795176" cy="4547644"/>
            <a:chOff x="4369198" y="1804388"/>
            <a:chExt cx="3795176" cy="4547644"/>
          </a:xfrm>
        </p:grpSpPr>
        <p:grpSp>
          <p:nvGrpSpPr>
            <p:cNvPr id="26" name="Gruppieren 52">
              <a:extLst>
                <a:ext uri="{FF2B5EF4-FFF2-40B4-BE49-F238E27FC236}">
                  <a16:creationId xmlns:a16="http://schemas.microsoft.com/office/drawing/2014/main" id="{408FA2E7-50A2-4F47-BF73-36073D37842C}"/>
                </a:ext>
              </a:extLst>
            </p:cNvPr>
            <p:cNvGrpSpPr/>
            <p:nvPr/>
          </p:nvGrpSpPr>
          <p:grpSpPr>
            <a:xfrm>
              <a:off x="4369198" y="1818940"/>
              <a:ext cx="3717835" cy="4533092"/>
              <a:chOff x="838198" y="2526224"/>
              <a:chExt cx="1610534" cy="1937289"/>
            </a:xfrm>
          </p:grpSpPr>
          <p:sp>
            <p:nvSpPr>
              <p:cNvPr id="28" name="Rechteck 54">
                <a:extLst>
                  <a:ext uri="{FF2B5EF4-FFF2-40B4-BE49-F238E27FC236}">
                    <a16:creationId xmlns:a16="http://schemas.microsoft.com/office/drawing/2014/main" id="{22EDAA66-7A98-4D0A-BB33-339930F028EC}"/>
                  </a:ext>
                </a:extLst>
              </p:cNvPr>
              <p:cNvSpPr/>
              <p:nvPr/>
            </p:nvSpPr>
            <p:spPr>
              <a:xfrm>
                <a:off x="838199" y="2526224"/>
                <a:ext cx="1610533" cy="1193369"/>
              </a:xfrm>
              <a:prstGeom prst="rect">
                <a:avLst/>
              </a:prstGeom>
              <a:noFill/>
              <a:ln w="25400">
                <a:solidFill>
                  <a:srgbClr val="47A8BC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" name="Rechteck 55">
                <a:extLst>
                  <a:ext uri="{FF2B5EF4-FFF2-40B4-BE49-F238E27FC236}">
                    <a16:creationId xmlns:a16="http://schemas.microsoft.com/office/drawing/2014/main" id="{9956A7B2-42A1-4C01-AB1F-AF0960CABE37}"/>
                  </a:ext>
                </a:extLst>
              </p:cNvPr>
              <p:cNvSpPr/>
              <p:nvPr/>
            </p:nvSpPr>
            <p:spPr>
              <a:xfrm>
                <a:off x="838198" y="3719593"/>
                <a:ext cx="1610533" cy="743920"/>
              </a:xfrm>
              <a:prstGeom prst="rect">
                <a:avLst/>
              </a:prstGeom>
              <a:solidFill>
                <a:srgbClr val="47A8BC"/>
              </a:solidFill>
              <a:ln w="25400">
                <a:solidFill>
                  <a:srgbClr val="47A8BC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 b="1" dirty="0"/>
              </a:p>
              <a:p>
                <a:pPr algn="ctr"/>
                <a:r>
                  <a:rPr lang="en-US" sz="2000" b="1" dirty="0"/>
                  <a:t>Bundle/White labelling</a:t>
                </a:r>
              </a:p>
              <a:p>
                <a:pPr algn="ctr"/>
                <a:endParaRPr lang="en-US" b="1" dirty="0"/>
              </a:p>
              <a:p>
                <a:pPr algn="ctr"/>
                <a:r>
                  <a:rPr lang="en-US" b="1" i="1" dirty="0"/>
                  <a:t>Let us put your name on one of our products or bundle it with your product</a:t>
                </a:r>
              </a:p>
              <a:p>
                <a:pPr algn="ctr"/>
                <a:endParaRPr lang="en-US" b="1" dirty="0"/>
              </a:p>
            </p:txBody>
          </p:sp>
        </p:grpSp>
        <p:pic>
          <p:nvPicPr>
            <p:cNvPr id="41" name="Grafik 8">
              <a:extLst>
                <a:ext uri="{FF2B5EF4-FFF2-40B4-BE49-F238E27FC236}">
                  <a16:creationId xmlns:a16="http://schemas.microsoft.com/office/drawing/2014/main" id="{147FF14A-8377-475E-8B72-99E1C0CCD2F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803332" y="2071782"/>
              <a:ext cx="586363" cy="586363"/>
            </a:xfrm>
            <a:prstGeom prst="rect">
              <a:avLst/>
            </a:prstGeom>
          </p:spPr>
        </p:pic>
        <p:pic>
          <p:nvPicPr>
            <p:cNvPr id="42" name="Grafik 9">
              <a:extLst>
                <a:ext uri="{FF2B5EF4-FFF2-40B4-BE49-F238E27FC236}">
                  <a16:creationId xmlns:a16="http://schemas.microsoft.com/office/drawing/2014/main" id="{8915FE5D-E04D-4FE7-8D67-F3F195E3C6F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484136" y="2259961"/>
              <a:ext cx="1909089" cy="231818"/>
            </a:xfrm>
            <a:prstGeom prst="rect">
              <a:avLst/>
            </a:prstGeom>
          </p:spPr>
        </p:pic>
        <p:pic>
          <p:nvPicPr>
            <p:cNvPr id="25" name="Grafik 49">
              <a:extLst>
                <a:ext uri="{FF2B5EF4-FFF2-40B4-BE49-F238E27FC236}">
                  <a16:creationId xmlns:a16="http://schemas.microsoft.com/office/drawing/2014/main" id="{8D5B895E-D692-4733-A6A4-50FFE97FFEC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611223" y="3429000"/>
              <a:ext cx="2021896" cy="1014991"/>
            </a:xfrm>
            <a:prstGeom prst="rect">
              <a:avLst/>
            </a:prstGeom>
          </p:spPr>
        </p:pic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A6FF5E76-B008-4FBD-8C75-28D0A0B65E0C}"/>
                </a:ext>
              </a:extLst>
            </p:cNvPr>
            <p:cNvSpPr txBox="1"/>
            <p:nvPr/>
          </p:nvSpPr>
          <p:spPr>
            <a:xfrm>
              <a:off x="6896673" y="1804388"/>
              <a:ext cx="126770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BE" b="1" dirty="0">
                  <a:solidFill>
                    <a:srgbClr val="00ABBD"/>
                  </a:solidFill>
                </a:rPr>
                <a:t>PRODUCTS</a:t>
              </a:r>
              <a:endParaRPr lang="en-US" b="1" dirty="0">
                <a:solidFill>
                  <a:srgbClr val="00ABBD"/>
                </a:solidFill>
              </a:endParaRPr>
            </a:p>
          </p:txBody>
        </p: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F207B786-8CC6-45EE-AB89-4985424EEAC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7742"/>
            <a:stretch/>
          </p:blipFill>
          <p:spPr bwMode="auto">
            <a:xfrm>
              <a:off x="4591050" y="2624138"/>
              <a:ext cx="2133600" cy="10382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46165470-399C-42BF-9C9F-BC8F95A14B14}"/>
              </a:ext>
            </a:extLst>
          </p:cNvPr>
          <p:cNvGrpSpPr/>
          <p:nvPr/>
        </p:nvGrpSpPr>
        <p:grpSpPr>
          <a:xfrm>
            <a:off x="436485" y="1818940"/>
            <a:ext cx="3863435" cy="4533092"/>
            <a:chOff x="436485" y="1818940"/>
            <a:chExt cx="3863435" cy="4533092"/>
          </a:xfrm>
        </p:grpSpPr>
        <p:grpSp>
          <p:nvGrpSpPr>
            <p:cNvPr id="19" name="Gruppieren 20">
              <a:extLst>
                <a:ext uri="{FF2B5EF4-FFF2-40B4-BE49-F238E27FC236}">
                  <a16:creationId xmlns:a16="http://schemas.microsoft.com/office/drawing/2014/main" id="{75A7AD45-F332-499E-BE2D-6AE7A11DB331}"/>
                </a:ext>
              </a:extLst>
            </p:cNvPr>
            <p:cNvGrpSpPr/>
            <p:nvPr/>
          </p:nvGrpSpPr>
          <p:grpSpPr>
            <a:xfrm>
              <a:off x="436485" y="1818940"/>
              <a:ext cx="3717835" cy="4533092"/>
              <a:chOff x="838198" y="2526224"/>
              <a:chExt cx="1610534" cy="1937289"/>
            </a:xfrm>
          </p:grpSpPr>
          <p:sp>
            <p:nvSpPr>
              <p:cNvPr id="23" name="Rechteck 21">
                <a:extLst>
                  <a:ext uri="{FF2B5EF4-FFF2-40B4-BE49-F238E27FC236}">
                    <a16:creationId xmlns:a16="http://schemas.microsoft.com/office/drawing/2014/main" id="{3F2D0329-8F4A-41FB-8A4B-857C4B33BDDC}"/>
                  </a:ext>
                </a:extLst>
              </p:cNvPr>
              <p:cNvSpPr/>
              <p:nvPr/>
            </p:nvSpPr>
            <p:spPr>
              <a:xfrm>
                <a:off x="838199" y="2526224"/>
                <a:ext cx="1610533" cy="1193369"/>
              </a:xfrm>
              <a:prstGeom prst="rect">
                <a:avLst/>
              </a:prstGeom>
              <a:noFill/>
              <a:ln w="25400">
                <a:solidFill>
                  <a:srgbClr val="47A8BC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" name="Rechteck 22">
                <a:extLst>
                  <a:ext uri="{FF2B5EF4-FFF2-40B4-BE49-F238E27FC236}">
                    <a16:creationId xmlns:a16="http://schemas.microsoft.com/office/drawing/2014/main" id="{50DA6665-E9C8-4F5E-8E7A-7059D1E8D236}"/>
                  </a:ext>
                </a:extLst>
              </p:cNvPr>
              <p:cNvSpPr/>
              <p:nvPr/>
            </p:nvSpPr>
            <p:spPr>
              <a:xfrm>
                <a:off x="838198" y="3719593"/>
                <a:ext cx="1610533" cy="743920"/>
              </a:xfrm>
              <a:prstGeom prst="rect">
                <a:avLst/>
              </a:prstGeom>
              <a:solidFill>
                <a:srgbClr val="47A8BC"/>
              </a:solidFill>
              <a:ln w="25400">
                <a:solidFill>
                  <a:srgbClr val="47A8BC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000" b="1" dirty="0"/>
                  <a:t>Integration of Toolkits</a:t>
                </a:r>
              </a:p>
              <a:p>
                <a:pPr algn="ctr"/>
                <a:endParaRPr lang="en-US" b="1" dirty="0"/>
              </a:p>
              <a:p>
                <a:pPr algn="ctr"/>
                <a:r>
                  <a:rPr lang="en-US" b="1" i="1" dirty="0"/>
                  <a:t>Integrate our technologies directly </a:t>
                </a:r>
              </a:p>
              <a:p>
                <a:pPr algn="ctr"/>
                <a:r>
                  <a:rPr lang="en-US" b="1" i="1" dirty="0"/>
                  <a:t>into your product</a:t>
                </a:r>
              </a:p>
              <a:p>
                <a:pPr algn="ctr"/>
                <a:endParaRPr lang="en-US" b="1" dirty="0"/>
              </a:p>
            </p:txBody>
          </p:sp>
        </p:grp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B4226DD9-5F8A-41C4-B8D2-A391D5F9B497}"/>
                </a:ext>
              </a:extLst>
            </p:cNvPr>
            <p:cNvSpPr txBox="1"/>
            <p:nvPr/>
          </p:nvSpPr>
          <p:spPr>
            <a:xfrm>
              <a:off x="3032219" y="1818940"/>
              <a:ext cx="126770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BE" b="1" dirty="0">
                  <a:solidFill>
                    <a:srgbClr val="00ABBD"/>
                  </a:solidFill>
                </a:rPr>
                <a:t>TOOLKITS</a:t>
              </a:r>
              <a:endParaRPr lang="en-US" b="1" dirty="0">
                <a:solidFill>
                  <a:srgbClr val="00ABBD"/>
                </a:solidFill>
              </a:endParaRPr>
            </a:p>
          </p:txBody>
        </p:sp>
        <p:pic>
          <p:nvPicPr>
            <p:cNvPr id="1028" name="Picture 4">
              <a:extLst>
                <a:ext uri="{FF2B5EF4-FFF2-40B4-BE49-F238E27FC236}">
                  <a16:creationId xmlns:a16="http://schemas.microsoft.com/office/drawing/2014/main" id="{1754E716-D4F0-4344-B7B9-B449052AFE5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9903" y="1967549"/>
              <a:ext cx="2047875" cy="8096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0" name="Picture 6">
              <a:extLst>
                <a:ext uri="{FF2B5EF4-FFF2-40B4-BE49-F238E27FC236}">
                  <a16:creationId xmlns:a16="http://schemas.microsoft.com/office/drawing/2014/main" id="{76066522-795B-4A5F-9809-91EE6A4B6FB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2301" y="2714169"/>
              <a:ext cx="2314575" cy="10191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2" name="Picture 8">
              <a:extLst>
                <a:ext uri="{FF2B5EF4-FFF2-40B4-BE49-F238E27FC236}">
                  <a16:creationId xmlns:a16="http://schemas.microsoft.com/office/drawing/2014/main" id="{2E42A8E2-D698-430C-807D-46C5BE8CF6D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0110" y="3708925"/>
              <a:ext cx="1962150" cy="8096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355386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>
            <a:extLst>
              <a:ext uri="{FF2B5EF4-FFF2-40B4-BE49-F238E27FC236}">
                <a16:creationId xmlns:a16="http://schemas.microsoft.com/office/drawing/2014/main" id="{C3428D45-71A9-AC48-AAFF-BB951BBDF0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365125"/>
            <a:ext cx="9720000" cy="1325563"/>
          </a:xfrm>
        </p:spPr>
        <p:txBody>
          <a:bodyPr/>
          <a:lstStyle/>
          <a:p>
            <a:r>
              <a:rPr lang="en-US" dirty="0"/>
              <a:t>Integration | Types</a:t>
            </a:r>
          </a:p>
        </p:txBody>
      </p:sp>
      <p:grpSp>
        <p:nvGrpSpPr>
          <p:cNvPr id="31" name="Gruppieren 60">
            <a:extLst>
              <a:ext uri="{FF2B5EF4-FFF2-40B4-BE49-F238E27FC236}">
                <a16:creationId xmlns:a16="http://schemas.microsoft.com/office/drawing/2014/main" id="{5A7AE509-A1C8-4BF8-8AE3-87B6DDDD1FAB}"/>
              </a:ext>
            </a:extLst>
          </p:cNvPr>
          <p:cNvGrpSpPr/>
          <p:nvPr/>
        </p:nvGrpSpPr>
        <p:grpSpPr>
          <a:xfrm>
            <a:off x="8261598" y="1818940"/>
            <a:ext cx="3723449" cy="4533092"/>
            <a:chOff x="820268" y="2526224"/>
            <a:chExt cx="1612966" cy="1937289"/>
          </a:xfrm>
        </p:grpSpPr>
        <p:sp>
          <p:nvSpPr>
            <p:cNvPr id="33" name="Rechteck 62">
              <a:extLst>
                <a:ext uri="{FF2B5EF4-FFF2-40B4-BE49-F238E27FC236}">
                  <a16:creationId xmlns:a16="http://schemas.microsoft.com/office/drawing/2014/main" id="{19A93060-13DB-4437-9C67-5AB22D023B4D}"/>
                </a:ext>
              </a:extLst>
            </p:cNvPr>
            <p:cNvSpPr/>
            <p:nvPr/>
          </p:nvSpPr>
          <p:spPr>
            <a:xfrm>
              <a:off x="822701" y="2526224"/>
              <a:ext cx="1610533" cy="1193369"/>
            </a:xfrm>
            <a:prstGeom prst="rect">
              <a:avLst/>
            </a:prstGeom>
            <a:noFill/>
            <a:ln w="25400">
              <a:solidFill>
                <a:srgbClr val="47A8BC">
                  <a:alpha val="35000"/>
                </a:srgbClr>
              </a:solidFill>
            </a:ln>
            <a:effectLst>
              <a:outerShdw blurRad="50800" dist="50800" dir="5400000" algn="ctr" rotWithShape="0">
                <a:schemeClr val="bg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hteck 63">
              <a:extLst>
                <a:ext uri="{FF2B5EF4-FFF2-40B4-BE49-F238E27FC236}">
                  <a16:creationId xmlns:a16="http://schemas.microsoft.com/office/drawing/2014/main" id="{4BC2D5A2-FF3B-4A66-AA4E-9ED94E82849E}"/>
                </a:ext>
              </a:extLst>
            </p:cNvPr>
            <p:cNvSpPr/>
            <p:nvPr/>
          </p:nvSpPr>
          <p:spPr>
            <a:xfrm>
              <a:off x="820268" y="3719593"/>
              <a:ext cx="1610533" cy="743920"/>
            </a:xfrm>
            <a:prstGeom prst="rect">
              <a:avLst/>
            </a:prstGeom>
            <a:solidFill>
              <a:srgbClr val="47A8BC">
                <a:alpha val="35000"/>
              </a:srgbClr>
            </a:solidFill>
            <a:ln w="25400">
              <a:solidFill>
                <a:srgbClr val="47A8BC">
                  <a:alpha val="35000"/>
                </a:srgbClr>
              </a:solidFill>
            </a:ln>
            <a:effectLst>
              <a:outerShdw blurRad="50800" dist="50800" dir="5400000" algn="ctr" rotWithShape="0">
                <a:schemeClr val="bg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 dirty="0"/>
            </a:p>
            <a:p>
              <a:pPr algn="ctr"/>
              <a:r>
                <a:rPr lang="en-US" sz="2000" b="1" dirty="0"/>
                <a:t>Integrate a service</a:t>
              </a:r>
            </a:p>
            <a:p>
              <a:pPr algn="ctr"/>
              <a:endParaRPr lang="en-US" b="1" dirty="0"/>
            </a:p>
            <a:p>
              <a:pPr algn="ctr"/>
              <a:r>
                <a:rPr lang="en-US" b="1" i="1" dirty="0"/>
                <a:t>We put our solutions in the cloud and let you access it as a Service</a:t>
              </a:r>
            </a:p>
            <a:p>
              <a:pPr algn="ctr"/>
              <a:endParaRPr lang="en-US" b="1" dirty="0"/>
            </a:p>
            <a:p>
              <a:pPr algn="ctr"/>
              <a:endParaRPr lang="en-US" b="1" dirty="0"/>
            </a:p>
          </p:txBody>
        </p:sp>
      </p:grpSp>
      <p:pic>
        <p:nvPicPr>
          <p:cNvPr id="49" name="Grafik 12">
            <a:extLst>
              <a:ext uri="{FF2B5EF4-FFF2-40B4-BE49-F238E27FC236}">
                <a16:creationId xmlns:a16="http://schemas.microsoft.com/office/drawing/2014/main" id="{670DBFD1-3F8E-4DE7-A646-1AB2B184395A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</a:blip>
          <a:stretch>
            <a:fillRect/>
          </a:stretch>
        </p:blipFill>
        <p:spPr>
          <a:xfrm>
            <a:off x="8823195" y="2872747"/>
            <a:ext cx="555669" cy="555669"/>
          </a:xfrm>
          <a:prstGeom prst="rect">
            <a:avLst/>
          </a:prstGeom>
        </p:spPr>
      </p:pic>
      <p:pic>
        <p:nvPicPr>
          <p:cNvPr id="50" name="Grafik 13">
            <a:extLst>
              <a:ext uri="{FF2B5EF4-FFF2-40B4-BE49-F238E27FC236}">
                <a16:creationId xmlns:a16="http://schemas.microsoft.com/office/drawing/2014/main" id="{16600822-9F0A-45C2-B466-AEB39183DE1A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</a:blip>
          <a:stretch>
            <a:fillRect/>
          </a:stretch>
        </p:blipFill>
        <p:spPr>
          <a:xfrm>
            <a:off x="9583980" y="3027448"/>
            <a:ext cx="1539737" cy="297449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70C34BB0-CF44-4FB6-9E21-B003E22D96E0}"/>
              </a:ext>
            </a:extLst>
          </p:cNvPr>
          <p:cNvSpPr txBox="1"/>
          <p:nvPr/>
        </p:nvSpPr>
        <p:spPr>
          <a:xfrm>
            <a:off x="10939018" y="1815071"/>
            <a:ext cx="12677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b="1">
                <a:gradFill flip="none" rotWithShape="1">
                  <a:gsLst>
                    <a:gs pos="0">
                      <a:srgbClr val="00ABBD">
                        <a:tint val="66000"/>
                        <a:satMod val="160000"/>
                      </a:srgbClr>
                    </a:gs>
                    <a:gs pos="50000">
                      <a:srgbClr val="00ABBD">
                        <a:tint val="44500"/>
                        <a:satMod val="160000"/>
                      </a:srgbClr>
                    </a:gs>
                    <a:gs pos="100000">
                      <a:srgbClr val="00ABBD">
                        <a:tint val="23500"/>
                        <a:satMod val="160000"/>
                      </a:srgbClr>
                    </a:gs>
                  </a:gsLst>
                  <a:lin ang="13500000" scaled="1"/>
                  <a:tileRect/>
                </a:gradFill>
              </a:defRPr>
            </a:lvl1pPr>
          </a:lstStyle>
          <a:p>
            <a:r>
              <a:rPr lang="fr-BE" dirty="0"/>
              <a:t>SERVICES</a:t>
            </a:r>
            <a:endParaRPr lang="en-US" dirty="0"/>
          </a:p>
        </p:txBody>
      </p:sp>
      <p:sp>
        <p:nvSpPr>
          <p:cNvPr id="28" name="Rechteck 54">
            <a:extLst>
              <a:ext uri="{FF2B5EF4-FFF2-40B4-BE49-F238E27FC236}">
                <a16:creationId xmlns:a16="http://schemas.microsoft.com/office/drawing/2014/main" id="{22EDAA66-7A98-4D0A-BB33-339930F028EC}"/>
              </a:ext>
            </a:extLst>
          </p:cNvPr>
          <p:cNvSpPr/>
          <p:nvPr/>
        </p:nvSpPr>
        <p:spPr>
          <a:xfrm>
            <a:off x="4369200" y="1818940"/>
            <a:ext cx="3717833" cy="2792382"/>
          </a:xfrm>
          <a:prstGeom prst="rect">
            <a:avLst/>
          </a:prstGeom>
          <a:noFill/>
          <a:ln w="25400">
            <a:solidFill>
              <a:srgbClr val="47A8BC">
                <a:alpha val="35000"/>
              </a:srgbClr>
            </a:solidFill>
          </a:ln>
          <a:effectLst>
            <a:outerShdw blurRad="50800" dist="50800" dir="5400000" algn="ctr" rotWithShape="0">
              <a:schemeClr val="bg1">
                <a:alpha val="3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hteck 55">
            <a:extLst>
              <a:ext uri="{FF2B5EF4-FFF2-40B4-BE49-F238E27FC236}">
                <a16:creationId xmlns:a16="http://schemas.microsoft.com/office/drawing/2014/main" id="{9956A7B2-42A1-4C01-AB1F-AF0960CABE37}"/>
              </a:ext>
            </a:extLst>
          </p:cNvPr>
          <p:cNvSpPr/>
          <p:nvPr/>
        </p:nvSpPr>
        <p:spPr>
          <a:xfrm>
            <a:off x="4369198" y="4611322"/>
            <a:ext cx="3717833" cy="1740710"/>
          </a:xfrm>
          <a:prstGeom prst="rect">
            <a:avLst/>
          </a:prstGeom>
          <a:solidFill>
            <a:srgbClr val="47A8BC">
              <a:alpha val="35000"/>
            </a:srgbClr>
          </a:solidFill>
          <a:ln w="25400">
            <a:solidFill>
              <a:srgbClr val="47A8BC">
                <a:alpha val="35000"/>
              </a:srgbClr>
            </a:solidFill>
          </a:ln>
          <a:effectLst>
            <a:outerShdw blurRad="50800" dist="50800" dir="5400000" algn="ct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1" dirty="0"/>
          </a:p>
          <a:p>
            <a:pPr algn="ctr"/>
            <a:r>
              <a:rPr lang="en-US" sz="2000" b="1" dirty="0"/>
              <a:t>Bundle/White labelling</a:t>
            </a:r>
          </a:p>
          <a:p>
            <a:pPr algn="ctr"/>
            <a:endParaRPr lang="en-US" b="1" dirty="0"/>
          </a:p>
          <a:p>
            <a:pPr algn="ctr"/>
            <a:r>
              <a:rPr lang="en-US" b="1" i="1" dirty="0"/>
              <a:t>Let us put your name on one of our products or bundle it with your product</a:t>
            </a:r>
          </a:p>
          <a:p>
            <a:pPr algn="ctr"/>
            <a:endParaRPr lang="en-US" b="1" dirty="0"/>
          </a:p>
        </p:txBody>
      </p:sp>
      <p:pic>
        <p:nvPicPr>
          <p:cNvPr id="41" name="Grafik 8">
            <a:extLst>
              <a:ext uri="{FF2B5EF4-FFF2-40B4-BE49-F238E27FC236}">
                <a16:creationId xmlns:a16="http://schemas.microsoft.com/office/drawing/2014/main" id="{147FF14A-8377-475E-8B72-99E1C0CCD2F1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20000"/>
          </a:blip>
          <a:stretch>
            <a:fillRect/>
          </a:stretch>
        </p:blipFill>
        <p:spPr>
          <a:xfrm>
            <a:off x="4803332" y="2071782"/>
            <a:ext cx="586363" cy="586363"/>
          </a:xfrm>
          <a:prstGeom prst="rect">
            <a:avLst/>
          </a:prstGeom>
        </p:spPr>
      </p:pic>
      <p:pic>
        <p:nvPicPr>
          <p:cNvPr id="42" name="Grafik 9">
            <a:extLst>
              <a:ext uri="{FF2B5EF4-FFF2-40B4-BE49-F238E27FC236}">
                <a16:creationId xmlns:a16="http://schemas.microsoft.com/office/drawing/2014/main" id="{8915FE5D-E04D-4FE7-8D67-F3F195E3C6F0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</a:blip>
          <a:stretch>
            <a:fillRect/>
          </a:stretch>
        </p:blipFill>
        <p:spPr>
          <a:xfrm>
            <a:off x="5484136" y="2259961"/>
            <a:ext cx="1909089" cy="231818"/>
          </a:xfrm>
          <a:prstGeom prst="rect">
            <a:avLst/>
          </a:prstGeom>
        </p:spPr>
      </p:pic>
      <p:pic>
        <p:nvPicPr>
          <p:cNvPr id="25" name="Grafik 49">
            <a:extLst>
              <a:ext uri="{FF2B5EF4-FFF2-40B4-BE49-F238E27FC236}">
                <a16:creationId xmlns:a16="http://schemas.microsoft.com/office/drawing/2014/main" id="{8D5B895E-D692-4733-A6A4-50FFE97FFEC9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20000"/>
          </a:blip>
          <a:stretch>
            <a:fillRect/>
          </a:stretch>
        </p:blipFill>
        <p:spPr>
          <a:xfrm>
            <a:off x="4611223" y="3429000"/>
            <a:ext cx="2021896" cy="1014991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A6FF5E76-B008-4FBD-8C75-28D0A0B65E0C}"/>
              </a:ext>
            </a:extLst>
          </p:cNvPr>
          <p:cNvSpPr txBox="1"/>
          <p:nvPr/>
        </p:nvSpPr>
        <p:spPr>
          <a:xfrm>
            <a:off x="6896673" y="1804388"/>
            <a:ext cx="12677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b="1" dirty="0">
                <a:gradFill flip="none" rotWithShape="1">
                  <a:gsLst>
                    <a:gs pos="0">
                      <a:srgbClr val="00ABBD">
                        <a:tint val="66000"/>
                        <a:satMod val="160000"/>
                      </a:srgbClr>
                    </a:gs>
                    <a:gs pos="50000">
                      <a:srgbClr val="00ABBD">
                        <a:tint val="44500"/>
                        <a:satMod val="160000"/>
                      </a:srgbClr>
                    </a:gs>
                    <a:gs pos="100000">
                      <a:srgbClr val="00ABBD">
                        <a:tint val="23500"/>
                        <a:satMod val="160000"/>
                      </a:srgbClr>
                    </a:gs>
                  </a:gsLst>
                  <a:lin ang="13500000" scaled="1"/>
                  <a:tileRect/>
                </a:gradFill>
              </a:rPr>
              <a:t>PRODUCTS</a:t>
            </a:r>
            <a:endParaRPr lang="en-US" b="1" dirty="0">
              <a:gradFill flip="none" rotWithShape="1">
                <a:gsLst>
                  <a:gs pos="0">
                    <a:srgbClr val="00ABBD">
                      <a:tint val="66000"/>
                      <a:satMod val="160000"/>
                    </a:srgbClr>
                  </a:gs>
                  <a:gs pos="50000">
                    <a:srgbClr val="00ABBD">
                      <a:tint val="44500"/>
                      <a:satMod val="160000"/>
                    </a:srgbClr>
                  </a:gs>
                  <a:gs pos="100000">
                    <a:srgbClr val="00ABBD">
                      <a:tint val="23500"/>
                      <a:satMod val="160000"/>
                    </a:srgbClr>
                  </a:gs>
                </a:gsLst>
                <a:lin ang="13500000" scaled="1"/>
                <a:tileRect/>
              </a:gradFill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207B786-8CC6-45EE-AB89-4985424EEA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742"/>
          <a:stretch/>
        </p:blipFill>
        <p:spPr bwMode="auto">
          <a:xfrm>
            <a:off x="4591050" y="2624138"/>
            <a:ext cx="2133600" cy="1038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46165470-399C-42BF-9C9F-BC8F95A14B14}"/>
              </a:ext>
            </a:extLst>
          </p:cNvPr>
          <p:cNvGrpSpPr/>
          <p:nvPr/>
        </p:nvGrpSpPr>
        <p:grpSpPr>
          <a:xfrm>
            <a:off x="436485" y="1818940"/>
            <a:ext cx="3863435" cy="4533092"/>
            <a:chOff x="436485" y="1818940"/>
            <a:chExt cx="3863435" cy="4533092"/>
          </a:xfrm>
        </p:grpSpPr>
        <p:grpSp>
          <p:nvGrpSpPr>
            <p:cNvPr id="19" name="Gruppieren 20">
              <a:extLst>
                <a:ext uri="{FF2B5EF4-FFF2-40B4-BE49-F238E27FC236}">
                  <a16:creationId xmlns:a16="http://schemas.microsoft.com/office/drawing/2014/main" id="{75A7AD45-F332-499E-BE2D-6AE7A11DB331}"/>
                </a:ext>
              </a:extLst>
            </p:cNvPr>
            <p:cNvGrpSpPr/>
            <p:nvPr/>
          </p:nvGrpSpPr>
          <p:grpSpPr>
            <a:xfrm>
              <a:off x="436485" y="1818940"/>
              <a:ext cx="3717835" cy="4533092"/>
              <a:chOff x="838198" y="2526224"/>
              <a:chExt cx="1610534" cy="1937289"/>
            </a:xfrm>
          </p:grpSpPr>
          <p:sp>
            <p:nvSpPr>
              <p:cNvPr id="23" name="Rechteck 21">
                <a:extLst>
                  <a:ext uri="{FF2B5EF4-FFF2-40B4-BE49-F238E27FC236}">
                    <a16:creationId xmlns:a16="http://schemas.microsoft.com/office/drawing/2014/main" id="{3F2D0329-8F4A-41FB-8A4B-857C4B33BDDC}"/>
                  </a:ext>
                </a:extLst>
              </p:cNvPr>
              <p:cNvSpPr/>
              <p:nvPr/>
            </p:nvSpPr>
            <p:spPr>
              <a:xfrm>
                <a:off x="838199" y="2526224"/>
                <a:ext cx="1610533" cy="1193369"/>
              </a:xfrm>
              <a:prstGeom prst="rect">
                <a:avLst/>
              </a:prstGeom>
              <a:noFill/>
              <a:ln w="25400">
                <a:solidFill>
                  <a:srgbClr val="47A8BC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" name="Rechteck 22">
                <a:extLst>
                  <a:ext uri="{FF2B5EF4-FFF2-40B4-BE49-F238E27FC236}">
                    <a16:creationId xmlns:a16="http://schemas.microsoft.com/office/drawing/2014/main" id="{50DA6665-E9C8-4F5E-8E7A-7059D1E8D236}"/>
                  </a:ext>
                </a:extLst>
              </p:cNvPr>
              <p:cNvSpPr/>
              <p:nvPr/>
            </p:nvSpPr>
            <p:spPr>
              <a:xfrm>
                <a:off x="838198" y="3719593"/>
                <a:ext cx="1610533" cy="743920"/>
              </a:xfrm>
              <a:prstGeom prst="rect">
                <a:avLst/>
              </a:prstGeom>
              <a:solidFill>
                <a:srgbClr val="47A8BC"/>
              </a:solidFill>
              <a:ln w="25400">
                <a:solidFill>
                  <a:srgbClr val="47A8BC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000" b="1" dirty="0"/>
                  <a:t>Integration of Toolkits</a:t>
                </a:r>
              </a:p>
              <a:p>
                <a:pPr algn="ctr"/>
                <a:endParaRPr lang="en-US" b="1" dirty="0"/>
              </a:p>
              <a:p>
                <a:pPr algn="ctr"/>
                <a:r>
                  <a:rPr lang="en-US" b="1" i="1" dirty="0"/>
                  <a:t>Integrate our technologies directly </a:t>
                </a:r>
              </a:p>
              <a:p>
                <a:pPr algn="ctr"/>
                <a:r>
                  <a:rPr lang="en-US" b="1" i="1" dirty="0"/>
                  <a:t>into your product</a:t>
                </a:r>
              </a:p>
              <a:p>
                <a:pPr algn="ctr"/>
                <a:endParaRPr lang="en-US" b="1" dirty="0"/>
              </a:p>
            </p:txBody>
          </p:sp>
        </p:grp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B4226DD9-5F8A-41C4-B8D2-A391D5F9B497}"/>
                </a:ext>
              </a:extLst>
            </p:cNvPr>
            <p:cNvSpPr txBox="1"/>
            <p:nvPr/>
          </p:nvSpPr>
          <p:spPr>
            <a:xfrm>
              <a:off x="3032219" y="1818940"/>
              <a:ext cx="126770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BE" b="1" dirty="0">
                  <a:solidFill>
                    <a:srgbClr val="00ABBD"/>
                  </a:solidFill>
                </a:rPr>
                <a:t>TOOLKITS</a:t>
              </a:r>
              <a:endParaRPr lang="en-US" b="1" dirty="0">
                <a:solidFill>
                  <a:srgbClr val="00ABBD"/>
                </a:solidFill>
              </a:endParaRPr>
            </a:p>
          </p:txBody>
        </p:sp>
        <p:pic>
          <p:nvPicPr>
            <p:cNvPr id="1028" name="Picture 4">
              <a:extLst>
                <a:ext uri="{FF2B5EF4-FFF2-40B4-BE49-F238E27FC236}">
                  <a16:creationId xmlns:a16="http://schemas.microsoft.com/office/drawing/2014/main" id="{1754E716-D4F0-4344-B7B9-B449052AFE5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9903" y="1967549"/>
              <a:ext cx="2047875" cy="8096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0" name="Picture 6">
              <a:extLst>
                <a:ext uri="{FF2B5EF4-FFF2-40B4-BE49-F238E27FC236}">
                  <a16:creationId xmlns:a16="http://schemas.microsoft.com/office/drawing/2014/main" id="{76066522-795B-4A5F-9809-91EE6A4B6FB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2301" y="2714169"/>
              <a:ext cx="2314575" cy="10191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2" name="Picture 8">
              <a:extLst>
                <a:ext uri="{FF2B5EF4-FFF2-40B4-BE49-F238E27FC236}">
                  <a16:creationId xmlns:a16="http://schemas.microsoft.com/office/drawing/2014/main" id="{2E42A8E2-D698-430C-807D-46C5BE8CF6D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0110" y="3708925"/>
              <a:ext cx="1962150" cy="8096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587582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E5AF2977-B694-814F-83E1-FE83D8F4E46D}"/>
              </a:ext>
            </a:extLst>
          </p:cNvPr>
          <p:cNvSpPr/>
          <p:nvPr/>
        </p:nvSpPr>
        <p:spPr>
          <a:xfrm>
            <a:off x="3766194" y="738707"/>
            <a:ext cx="492993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dirty="0">
                <a:solidFill>
                  <a:schemeClr val="accent5"/>
                </a:solidFill>
              </a:rPr>
              <a:t>| Technologie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0A4CEED-DFA4-45AD-8549-F127237FCD4D}"/>
              </a:ext>
            </a:extLst>
          </p:cNvPr>
          <p:cNvGrpSpPr/>
          <p:nvPr/>
        </p:nvGrpSpPr>
        <p:grpSpPr>
          <a:xfrm>
            <a:off x="1065177" y="1722732"/>
            <a:ext cx="3083837" cy="1937289"/>
            <a:chOff x="1065177" y="1722732"/>
            <a:chExt cx="3083837" cy="1937289"/>
          </a:xfrm>
        </p:grpSpPr>
        <p:grpSp>
          <p:nvGrpSpPr>
            <p:cNvPr id="21" name="Gruppieren 20">
              <a:extLst>
                <a:ext uri="{FF2B5EF4-FFF2-40B4-BE49-F238E27FC236}">
                  <a16:creationId xmlns:a16="http://schemas.microsoft.com/office/drawing/2014/main" id="{4C8795E5-A482-994F-899E-E05691581D5C}"/>
                </a:ext>
              </a:extLst>
            </p:cNvPr>
            <p:cNvGrpSpPr/>
            <p:nvPr/>
          </p:nvGrpSpPr>
          <p:grpSpPr>
            <a:xfrm>
              <a:off x="1065177" y="1722732"/>
              <a:ext cx="3083837" cy="1937289"/>
              <a:chOff x="838198" y="2526224"/>
              <a:chExt cx="1610534" cy="1937289"/>
            </a:xfrm>
          </p:grpSpPr>
          <p:sp>
            <p:nvSpPr>
              <p:cNvPr id="22" name="Rechteck 21">
                <a:extLst>
                  <a:ext uri="{FF2B5EF4-FFF2-40B4-BE49-F238E27FC236}">
                    <a16:creationId xmlns:a16="http://schemas.microsoft.com/office/drawing/2014/main" id="{584EC853-E26D-CB47-B1DB-2A2B2E6A221C}"/>
                  </a:ext>
                </a:extLst>
              </p:cNvPr>
              <p:cNvSpPr/>
              <p:nvPr/>
            </p:nvSpPr>
            <p:spPr>
              <a:xfrm>
                <a:off x="838199" y="2526224"/>
                <a:ext cx="1610533" cy="1193369"/>
              </a:xfrm>
              <a:prstGeom prst="rect">
                <a:avLst/>
              </a:prstGeom>
              <a:noFill/>
              <a:ln w="25400">
                <a:solidFill>
                  <a:srgbClr val="47A8BC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" name="Rechteck 22">
                <a:extLst>
                  <a:ext uri="{FF2B5EF4-FFF2-40B4-BE49-F238E27FC236}">
                    <a16:creationId xmlns:a16="http://schemas.microsoft.com/office/drawing/2014/main" id="{5FDDC2BF-A7E3-1C40-9D71-F0079DC3F106}"/>
                  </a:ext>
                </a:extLst>
              </p:cNvPr>
              <p:cNvSpPr/>
              <p:nvPr/>
            </p:nvSpPr>
            <p:spPr>
              <a:xfrm>
                <a:off x="838198" y="3719593"/>
                <a:ext cx="1610533" cy="743920"/>
              </a:xfrm>
              <a:prstGeom prst="rect">
                <a:avLst/>
              </a:prstGeom>
              <a:solidFill>
                <a:srgbClr val="47A8BC"/>
              </a:solidFill>
              <a:ln w="25400">
                <a:solidFill>
                  <a:srgbClr val="47A8BC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b="1" dirty="0"/>
                  <a:t>OCR</a:t>
                </a:r>
              </a:p>
            </p:txBody>
          </p:sp>
        </p:grpSp>
        <p:pic>
          <p:nvPicPr>
            <p:cNvPr id="52" name="Picture 1032" descr="Arabic-language">
              <a:extLst>
                <a:ext uri="{FF2B5EF4-FFF2-40B4-BE49-F238E27FC236}">
                  <a16:creationId xmlns:a16="http://schemas.microsoft.com/office/drawing/2014/main" id="{D1F50340-B185-4766-B813-395ACE9C3B0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2658995" y="1881406"/>
              <a:ext cx="1304925" cy="355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4" name="Picture 28" descr="Untitled-7">
              <a:extLst>
                <a:ext uri="{FF2B5EF4-FFF2-40B4-BE49-F238E27FC236}">
                  <a16:creationId xmlns:a16="http://schemas.microsoft.com/office/drawing/2014/main" id="{7AC21A63-7C63-4663-B39E-F9C4C329030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674437" y="2367648"/>
              <a:ext cx="1865313" cy="2047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7" name="Picture 26" descr="Untitled-5">
              <a:extLst>
                <a:ext uri="{FF2B5EF4-FFF2-40B4-BE49-F238E27FC236}">
                  <a16:creationId xmlns:a16="http://schemas.microsoft.com/office/drawing/2014/main" id="{855CF595-6C42-4B4F-8BEE-B94093CDA1F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210559" y="1808799"/>
              <a:ext cx="1243013" cy="355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A79CC061-3378-4960-B94A-3791A3CE5891}"/>
              </a:ext>
            </a:extLst>
          </p:cNvPr>
          <p:cNvGrpSpPr/>
          <p:nvPr/>
        </p:nvGrpSpPr>
        <p:grpSpPr>
          <a:xfrm>
            <a:off x="1065177" y="4186506"/>
            <a:ext cx="3083837" cy="1937289"/>
            <a:chOff x="1065177" y="4186506"/>
            <a:chExt cx="3083837" cy="1937289"/>
          </a:xfrm>
        </p:grpSpPr>
        <p:grpSp>
          <p:nvGrpSpPr>
            <p:cNvPr id="44" name="Gruppieren 20">
              <a:extLst>
                <a:ext uri="{FF2B5EF4-FFF2-40B4-BE49-F238E27FC236}">
                  <a16:creationId xmlns:a16="http://schemas.microsoft.com/office/drawing/2014/main" id="{DC69BD08-B003-41A2-AD6D-FB8820D94BE3}"/>
                </a:ext>
              </a:extLst>
            </p:cNvPr>
            <p:cNvGrpSpPr/>
            <p:nvPr/>
          </p:nvGrpSpPr>
          <p:grpSpPr>
            <a:xfrm>
              <a:off x="1065177" y="4186506"/>
              <a:ext cx="3083837" cy="1937289"/>
              <a:chOff x="838198" y="2526224"/>
              <a:chExt cx="1610534" cy="1937289"/>
            </a:xfrm>
          </p:grpSpPr>
          <p:sp>
            <p:nvSpPr>
              <p:cNvPr id="46" name="Rechteck 21">
                <a:extLst>
                  <a:ext uri="{FF2B5EF4-FFF2-40B4-BE49-F238E27FC236}">
                    <a16:creationId xmlns:a16="http://schemas.microsoft.com/office/drawing/2014/main" id="{B9F434AD-22E2-46C2-92C6-050DE3150506}"/>
                  </a:ext>
                </a:extLst>
              </p:cNvPr>
              <p:cNvSpPr/>
              <p:nvPr/>
            </p:nvSpPr>
            <p:spPr>
              <a:xfrm>
                <a:off x="838199" y="2526224"/>
                <a:ext cx="1610533" cy="1193369"/>
              </a:xfrm>
              <a:prstGeom prst="rect">
                <a:avLst/>
              </a:prstGeom>
              <a:noFill/>
              <a:ln w="25400">
                <a:solidFill>
                  <a:srgbClr val="47A8BC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9" name="Rechteck 22">
                <a:extLst>
                  <a:ext uri="{FF2B5EF4-FFF2-40B4-BE49-F238E27FC236}">
                    <a16:creationId xmlns:a16="http://schemas.microsoft.com/office/drawing/2014/main" id="{908C6053-354D-4A18-BCEF-43ED9FF07E54}"/>
                  </a:ext>
                </a:extLst>
              </p:cNvPr>
              <p:cNvSpPr/>
              <p:nvPr/>
            </p:nvSpPr>
            <p:spPr>
              <a:xfrm>
                <a:off x="838198" y="3719593"/>
                <a:ext cx="1610533" cy="743920"/>
              </a:xfrm>
              <a:prstGeom prst="rect">
                <a:avLst/>
              </a:prstGeom>
              <a:solidFill>
                <a:srgbClr val="47A8BC"/>
              </a:solidFill>
              <a:ln w="25400">
                <a:solidFill>
                  <a:srgbClr val="47A8BC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b="1" dirty="0"/>
                  <a:t>Imaging</a:t>
                </a:r>
              </a:p>
            </p:txBody>
          </p:sp>
        </p:grp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38A49B8C-19BF-4BE1-BE61-1BB2527AC99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524827" y="4295648"/>
              <a:ext cx="1857489" cy="521166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FE97889C-7457-44D1-835F-E9E1B0F3959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885243" y="4800796"/>
              <a:ext cx="1675176" cy="521166"/>
            </a:xfrm>
            <a:prstGeom prst="rect">
              <a:avLst/>
            </a:prstGeom>
          </p:spPr>
        </p:pic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8587102-EB8F-4823-B199-2A5085C4D5B0}"/>
              </a:ext>
            </a:extLst>
          </p:cNvPr>
          <p:cNvGrpSpPr/>
          <p:nvPr/>
        </p:nvGrpSpPr>
        <p:grpSpPr>
          <a:xfrm>
            <a:off x="4505219" y="1750067"/>
            <a:ext cx="3083837" cy="1937289"/>
            <a:chOff x="4505219" y="1750067"/>
            <a:chExt cx="3083837" cy="1937289"/>
          </a:xfrm>
        </p:grpSpPr>
        <p:grpSp>
          <p:nvGrpSpPr>
            <p:cNvPr id="53" name="Gruppieren 52">
              <a:extLst>
                <a:ext uri="{FF2B5EF4-FFF2-40B4-BE49-F238E27FC236}">
                  <a16:creationId xmlns:a16="http://schemas.microsoft.com/office/drawing/2014/main" id="{5999A7A5-0358-5E4F-BC96-36E464D5C637}"/>
                </a:ext>
              </a:extLst>
            </p:cNvPr>
            <p:cNvGrpSpPr/>
            <p:nvPr/>
          </p:nvGrpSpPr>
          <p:grpSpPr>
            <a:xfrm>
              <a:off x="4505219" y="1750067"/>
              <a:ext cx="3083837" cy="1937289"/>
              <a:chOff x="838198" y="2526224"/>
              <a:chExt cx="1610534" cy="1937289"/>
            </a:xfrm>
          </p:grpSpPr>
          <p:sp>
            <p:nvSpPr>
              <p:cNvPr id="55" name="Rechteck 54">
                <a:extLst>
                  <a:ext uri="{FF2B5EF4-FFF2-40B4-BE49-F238E27FC236}">
                    <a16:creationId xmlns:a16="http://schemas.microsoft.com/office/drawing/2014/main" id="{5895827B-7B9F-A146-8EC6-B4FC6AD605FA}"/>
                  </a:ext>
                </a:extLst>
              </p:cNvPr>
              <p:cNvSpPr/>
              <p:nvPr/>
            </p:nvSpPr>
            <p:spPr>
              <a:xfrm>
                <a:off x="838199" y="2526224"/>
                <a:ext cx="1610533" cy="1193369"/>
              </a:xfrm>
              <a:prstGeom prst="rect">
                <a:avLst/>
              </a:prstGeom>
              <a:noFill/>
              <a:ln w="25400">
                <a:solidFill>
                  <a:srgbClr val="47A8BC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6" name="Rechteck 55">
                <a:extLst>
                  <a:ext uri="{FF2B5EF4-FFF2-40B4-BE49-F238E27FC236}">
                    <a16:creationId xmlns:a16="http://schemas.microsoft.com/office/drawing/2014/main" id="{26396D19-07CC-6C49-A764-79988B6328B2}"/>
                  </a:ext>
                </a:extLst>
              </p:cNvPr>
              <p:cNvSpPr/>
              <p:nvPr/>
            </p:nvSpPr>
            <p:spPr>
              <a:xfrm>
                <a:off x="838198" y="3719593"/>
                <a:ext cx="1610533" cy="743920"/>
              </a:xfrm>
              <a:prstGeom prst="rect">
                <a:avLst/>
              </a:prstGeom>
              <a:solidFill>
                <a:srgbClr val="47A8BC"/>
              </a:solidFill>
              <a:ln w="25400">
                <a:solidFill>
                  <a:srgbClr val="47A8BC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b="1" dirty="0"/>
                  <a:t>ICR</a:t>
                </a:r>
              </a:p>
            </p:txBody>
          </p:sp>
        </p:grpSp>
        <p:pic>
          <p:nvPicPr>
            <p:cNvPr id="33" name="Picture 22" descr="Untitled-1">
              <a:extLst>
                <a:ext uri="{FF2B5EF4-FFF2-40B4-BE49-F238E27FC236}">
                  <a16:creationId xmlns:a16="http://schemas.microsoft.com/office/drawing/2014/main" id="{2D7F4933-9367-4A84-B52B-EEEA9899A2D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5095875" y="2240708"/>
              <a:ext cx="2000250" cy="1889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8720F75-B497-4A89-96B3-201E31472890}"/>
              </a:ext>
            </a:extLst>
          </p:cNvPr>
          <p:cNvGrpSpPr/>
          <p:nvPr/>
        </p:nvGrpSpPr>
        <p:grpSpPr>
          <a:xfrm>
            <a:off x="7945261" y="1774436"/>
            <a:ext cx="3083837" cy="1937289"/>
            <a:chOff x="7945261" y="1774436"/>
            <a:chExt cx="3083837" cy="1937289"/>
          </a:xfrm>
        </p:grpSpPr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7A3A77A0-73CD-0D42-B7D3-9B55E2ABE439}"/>
                </a:ext>
              </a:extLst>
            </p:cNvPr>
            <p:cNvGrpSpPr/>
            <p:nvPr/>
          </p:nvGrpSpPr>
          <p:grpSpPr>
            <a:xfrm>
              <a:off x="7945261" y="1774436"/>
              <a:ext cx="3083837" cy="1937289"/>
              <a:chOff x="838198" y="2526224"/>
              <a:chExt cx="1610534" cy="1937289"/>
            </a:xfrm>
          </p:grpSpPr>
          <p:sp>
            <p:nvSpPr>
              <p:cNvPr id="7" name="Rechteck 6">
                <a:extLst>
                  <a:ext uri="{FF2B5EF4-FFF2-40B4-BE49-F238E27FC236}">
                    <a16:creationId xmlns:a16="http://schemas.microsoft.com/office/drawing/2014/main" id="{C17ABA4C-61A1-CE4F-8B5E-2735D7597B46}"/>
                  </a:ext>
                </a:extLst>
              </p:cNvPr>
              <p:cNvSpPr/>
              <p:nvPr/>
            </p:nvSpPr>
            <p:spPr>
              <a:xfrm>
                <a:off x="838199" y="2526224"/>
                <a:ext cx="1610533" cy="1193369"/>
              </a:xfrm>
              <a:prstGeom prst="rect">
                <a:avLst/>
              </a:prstGeom>
              <a:noFill/>
              <a:ln w="25400">
                <a:solidFill>
                  <a:srgbClr val="47A8BC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" name="Rechteck 9">
                <a:extLst>
                  <a:ext uri="{FF2B5EF4-FFF2-40B4-BE49-F238E27FC236}">
                    <a16:creationId xmlns:a16="http://schemas.microsoft.com/office/drawing/2014/main" id="{F18861FD-C0AA-9E4B-9201-63B7AE63F81A}"/>
                  </a:ext>
                </a:extLst>
              </p:cNvPr>
              <p:cNvSpPr/>
              <p:nvPr/>
            </p:nvSpPr>
            <p:spPr>
              <a:xfrm>
                <a:off x="838198" y="3719593"/>
                <a:ext cx="1610533" cy="743920"/>
              </a:xfrm>
              <a:prstGeom prst="rect">
                <a:avLst/>
              </a:prstGeom>
              <a:solidFill>
                <a:srgbClr val="47A8BC"/>
              </a:solidFill>
              <a:ln w="25400">
                <a:solidFill>
                  <a:srgbClr val="47A8BC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b="1" dirty="0"/>
                  <a:t>Barcode</a:t>
                </a:r>
              </a:p>
            </p:txBody>
          </p:sp>
        </p:grp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EDADE515-D847-4764-AF18-01434E6A2A7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176933" y="2111281"/>
              <a:ext cx="975485" cy="381049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C6A3BD90-52D9-4EE3-BDCA-04F90F871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0124165" y="1896731"/>
              <a:ext cx="775717" cy="470917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4DE08BED-4225-40AA-BF06-3D648AEE238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337440" y="2346751"/>
              <a:ext cx="573025" cy="560833"/>
            </a:xfrm>
            <a:prstGeom prst="rect">
              <a:avLst/>
            </a:prstGeom>
          </p:spPr>
        </p:pic>
      </p:grpSp>
      <p:pic>
        <p:nvPicPr>
          <p:cNvPr id="41" name="Picture 4">
            <a:extLst>
              <a:ext uri="{FF2B5EF4-FFF2-40B4-BE49-F238E27FC236}">
                <a16:creationId xmlns:a16="http://schemas.microsoft.com/office/drawing/2014/main" id="{D8875B67-1D39-4614-98CC-6CA8DC5CAA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177" y="734205"/>
            <a:ext cx="2047875" cy="809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4E8317A7-E955-4DFC-B346-BD07C07CFD88}"/>
              </a:ext>
            </a:extLst>
          </p:cNvPr>
          <p:cNvGrpSpPr/>
          <p:nvPr/>
        </p:nvGrpSpPr>
        <p:grpSpPr>
          <a:xfrm>
            <a:off x="4505219" y="4182004"/>
            <a:ext cx="3083837" cy="1937289"/>
            <a:chOff x="4505219" y="4182004"/>
            <a:chExt cx="3083837" cy="1937289"/>
          </a:xfrm>
        </p:grpSpPr>
        <p:grpSp>
          <p:nvGrpSpPr>
            <p:cNvPr id="45" name="Gruppieren 44">
              <a:extLst>
                <a:ext uri="{FF2B5EF4-FFF2-40B4-BE49-F238E27FC236}">
                  <a16:creationId xmlns:a16="http://schemas.microsoft.com/office/drawing/2014/main" id="{B154591C-2EB3-EC49-BE97-2B032544E196}"/>
                </a:ext>
              </a:extLst>
            </p:cNvPr>
            <p:cNvGrpSpPr/>
            <p:nvPr/>
          </p:nvGrpSpPr>
          <p:grpSpPr>
            <a:xfrm>
              <a:off x="4505219" y="4182004"/>
              <a:ext cx="3083837" cy="1937289"/>
              <a:chOff x="838198" y="2526224"/>
              <a:chExt cx="1610534" cy="1937289"/>
            </a:xfrm>
          </p:grpSpPr>
          <p:sp>
            <p:nvSpPr>
              <p:cNvPr id="47" name="Rechteck 46">
                <a:extLst>
                  <a:ext uri="{FF2B5EF4-FFF2-40B4-BE49-F238E27FC236}">
                    <a16:creationId xmlns:a16="http://schemas.microsoft.com/office/drawing/2014/main" id="{078D7E62-E31D-2640-9432-8A0A2FD412B7}"/>
                  </a:ext>
                </a:extLst>
              </p:cNvPr>
              <p:cNvSpPr/>
              <p:nvPr/>
            </p:nvSpPr>
            <p:spPr>
              <a:xfrm>
                <a:off x="838199" y="2526224"/>
                <a:ext cx="1610533" cy="1193369"/>
              </a:xfrm>
              <a:prstGeom prst="rect">
                <a:avLst/>
              </a:prstGeom>
              <a:noFill/>
              <a:ln w="25400">
                <a:solidFill>
                  <a:srgbClr val="47A8BC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8" name="Rechteck 47">
                <a:extLst>
                  <a:ext uri="{FF2B5EF4-FFF2-40B4-BE49-F238E27FC236}">
                    <a16:creationId xmlns:a16="http://schemas.microsoft.com/office/drawing/2014/main" id="{C13932A7-FAED-2742-B430-AC8596558DF6}"/>
                  </a:ext>
                </a:extLst>
              </p:cNvPr>
              <p:cNvSpPr/>
              <p:nvPr/>
            </p:nvSpPr>
            <p:spPr>
              <a:xfrm>
                <a:off x="838198" y="3719593"/>
                <a:ext cx="1610533" cy="743920"/>
              </a:xfrm>
              <a:prstGeom prst="rect">
                <a:avLst/>
              </a:prstGeom>
              <a:solidFill>
                <a:srgbClr val="47A8BC"/>
              </a:solidFill>
              <a:ln w="25400">
                <a:solidFill>
                  <a:srgbClr val="47A8BC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b="1" dirty="0"/>
                  <a:t>Compression</a:t>
                </a:r>
              </a:p>
            </p:txBody>
          </p:sp>
        </p:grpSp>
        <p:pic>
          <p:nvPicPr>
            <p:cNvPr id="42" name="Picture 22" descr="Compress, compressor, data, shrink, zip icon">
              <a:extLst>
                <a:ext uri="{FF2B5EF4-FFF2-40B4-BE49-F238E27FC236}">
                  <a16:creationId xmlns:a16="http://schemas.microsoft.com/office/drawing/2014/main" id="{B0B93DD4-E273-4439-8AB2-F09E90EDA5B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26387" y="4419545"/>
              <a:ext cx="826209" cy="8262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00C4044-5D44-42E0-84F0-6C574738D1F6}"/>
              </a:ext>
            </a:extLst>
          </p:cNvPr>
          <p:cNvGrpSpPr/>
          <p:nvPr/>
        </p:nvGrpSpPr>
        <p:grpSpPr>
          <a:xfrm>
            <a:off x="7949922" y="4166623"/>
            <a:ext cx="3083837" cy="1937289"/>
            <a:chOff x="7949922" y="4166623"/>
            <a:chExt cx="3083837" cy="1937289"/>
          </a:xfrm>
        </p:grpSpPr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8F1811C6-AA00-4E15-8108-792668D8573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10231636" y="4467945"/>
              <a:ext cx="762000" cy="923925"/>
            </a:xfrm>
            <a:prstGeom prst="rect">
              <a:avLst/>
            </a:prstGeom>
          </p:spPr>
        </p:pic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50D72EDF-F8E4-4649-9DC8-B31FF8323553}"/>
                </a:ext>
              </a:extLst>
            </p:cNvPr>
            <p:cNvGrpSpPr/>
            <p:nvPr/>
          </p:nvGrpSpPr>
          <p:grpSpPr>
            <a:xfrm>
              <a:off x="7949922" y="4166623"/>
              <a:ext cx="3083837" cy="1937289"/>
              <a:chOff x="7949922" y="4166623"/>
              <a:chExt cx="3083837" cy="1937289"/>
            </a:xfrm>
          </p:grpSpPr>
          <p:grpSp>
            <p:nvGrpSpPr>
              <p:cNvPr id="15" name="Gruppieren 14">
                <a:extLst>
                  <a:ext uri="{FF2B5EF4-FFF2-40B4-BE49-F238E27FC236}">
                    <a16:creationId xmlns:a16="http://schemas.microsoft.com/office/drawing/2014/main" id="{0275D716-6BF1-5F4B-95C9-A10C068EBEE8}"/>
                  </a:ext>
                </a:extLst>
              </p:cNvPr>
              <p:cNvGrpSpPr/>
              <p:nvPr/>
            </p:nvGrpSpPr>
            <p:grpSpPr>
              <a:xfrm>
                <a:off x="7949922" y="4166623"/>
                <a:ext cx="3083837" cy="1937289"/>
                <a:chOff x="838198" y="2526224"/>
                <a:chExt cx="1610534" cy="1937289"/>
              </a:xfrm>
            </p:grpSpPr>
            <p:sp>
              <p:nvSpPr>
                <p:cNvPr id="16" name="Rechteck 15">
                  <a:extLst>
                    <a:ext uri="{FF2B5EF4-FFF2-40B4-BE49-F238E27FC236}">
                      <a16:creationId xmlns:a16="http://schemas.microsoft.com/office/drawing/2014/main" id="{975699BF-DD17-6748-9C9F-466BEF075218}"/>
                    </a:ext>
                  </a:extLst>
                </p:cNvPr>
                <p:cNvSpPr/>
                <p:nvPr/>
              </p:nvSpPr>
              <p:spPr>
                <a:xfrm>
                  <a:off x="838199" y="2526224"/>
                  <a:ext cx="1610533" cy="1193369"/>
                </a:xfrm>
                <a:prstGeom prst="rect">
                  <a:avLst/>
                </a:prstGeom>
                <a:noFill/>
                <a:ln w="25400">
                  <a:solidFill>
                    <a:srgbClr val="47A8BC"/>
                  </a:solidFill>
                </a:ln>
                <a:effectLst>
                  <a:outerShdw blurRad="50800" dist="50800" dir="5400000" algn="ctr" rotWithShape="0">
                    <a:schemeClr val="bg1"/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7" name="Rechteck 16">
                  <a:extLst>
                    <a:ext uri="{FF2B5EF4-FFF2-40B4-BE49-F238E27FC236}">
                      <a16:creationId xmlns:a16="http://schemas.microsoft.com/office/drawing/2014/main" id="{C6DB95A4-A24D-8145-AE17-522743042343}"/>
                    </a:ext>
                  </a:extLst>
                </p:cNvPr>
                <p:cNvSpPr/>
                <p:nvPr/>
              </p:nvSpPr>
              <p:spPr>
                <a:xfrm>
                  <a:off x="838198" y="3719593"/>
                  <a:ext cx="1610533" cy="743920"/>
                </a:xfrm>
                <a:prstGeom prst="rect">
                  <a:avLst/>
                </a:prstGeom>
                <a:solidFill>
                  <a:srgbClr val="47A8BC"/>
                </a:solidFill>
                <a:ln w="25400">
                  <a:solidFill>
                    <a:srgbClr val="47A8BC"/>
                  </a:solidFill>
                </a:ln>
                <a:effectLst>
                  <a:outerShdw blurRad="50800" dist="50800" dir="5400000" algn="ctr" rotWithShape="0">
                    <a:schemeClr val="bg1"/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b="1" dirty="0"/>
                    <a:t>Formatting</a:t>
                  </a:r>
                </a:p>
              </p:txBody>
            </p:sp>
          </p:grpSp>
          <p:pic>
            <p:nvPicPr>
              <p:cNvPr id="43" name="Picture 26">
                <a:extLst>
                  <a:ext uri="{FF2B5EF4-FFF2-40B4-BE49-F238E27FC236}">
                    <a16:creationId xmlns:a16="http://schemas.microsoft.com/office/drawing/2014/main" id="{781F53B5-2834-4721-9CFA-E0071B1E7F5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050416" y="4250311"/>
                <a:ext cx="662167" cy="662167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50" name="Picture 27">
                <a:extLst>
                  <a:ext uri="{FF2B5EF4-FFF2-40B4-BE49-F238E27FC236}">
                    <a16:creationId xmlns:a16="http://schemas.microsoft.com/office/drawing/2014/main" id="{C6BBA5AE-6CA4-4314-B90C-2C2FA9B534B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529347" y="4267741"/>
                <a:ext cx="662167" cy="662167"/>
              </a:xfrm>
              <a:prstGeom prst="rect">
                <a:avLst/>
              </a:prstGeom>
            </p:spPr>
          </p:pic>
          <p:pic>
            <p:nvPicPr>
              <p:cNvPr id="51" name="Picture 28">
                <a:extLst>
                  <a:ext uri="{FF2B5EF4-FFF2-40B4-BE49-F238E27FC236}">
                    <a16:creationId xmlns:a16="http://schemas.microsoft.com/office/drawing/2014/main" id="{F33F3B64-3932-4D2F-AC1D-84979946D3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778179" y="4581394"/>
                <a:ext cx="662167" cy="662167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6390404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E5AF2977-B694-814F-83E1-FE83D8F4E46D}"/>
              </a:ext>
            </a:extLst>
          </p:cNvPr>
          <p:cNvSpPr/>
          <p:nvPr/>
        </p:nvSpPr>
        <p:spPr>
          <a:xfrm>
            <a:off x="3793862" y="738707"/>
            <a:ext cx="311489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dirty="0">
                <a:solidFill>
                  <a:schemeClr val="accent5"/>
                </a:solidFill>
              </a:rPr>
              <a:t>| New features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E5A41084-2205-4397-9FF1-AA81392F9EEB}"/>
              </a:ext>
            </a:extLst>
          </p:cNvPr>
          <p:cNvGrpSpPr/>
          <p:nvPr/>
        </p:nvGrpSpPr>
        <p:grpSpPr>
          <a:xfrm>
            <a:off x="1065177" y="1722732"/>
            <a:ext cx="3083837" cy="1937289"/>
            <a:chOff x="1065177" y="1722732"/>
            <a:chExt cx="3083837" cy="1937289"/>
          </a:xfrm>
        </p:grpSpPr>
        <p:grpSp>
          <p:nvGrpSpPr>
            <p:cNvPr id="21" name="Gruppieren 20">
              <a:extLst>
                <a:ext uri="{FF2B5EF4-FFF2-40B4-BE49-F238E27FC236}">
                  <a16:creationId xmlns:a16="http://schemas.microsoft.com/office/drawing/2014/main" id="{4C8795E5-A482-994F-899E-E05691581D5C}"/>
                </a:ext>
              </a:extLst>
            </p:cNvPr>
            <p:cNvGrpSpPr/>
            <p:nvPr/>
          </p:nvGrpSpPr>
          <p:grpSpPr>
            <a:xfrm>
              <a:off x="1065177" y="1722732"/>
              <a:ext cx="3083837" cy="1937289"/>
              <a:chOff x="838198" y="2526224"/>
              <a:chExt cx="1610534" cy="1937289"/>
            </a:xfrm>
          </p:grpSpPr>
          <p:sp>
            <p:nvSpPr>
              <p:cNvPr id="22" name="Rechteck 21">
                <a:extLst>
                  <a:ext uri="{FF2B5EF4-FFF2-40B4-BE49-F238E27FC236}">
                    <a16:creationId xmlns:a16="http://schemas.microsoft.com/office/drawing/2014/main" id="{584EC853-E26D-CB47-B1DB-2A2B2E6A221C}"/>
                  </a:ext>
                </a:extLst>
              </p:cNvPr>
              <p:cNvSpPr/>
              <p:nvPr/>
            </p:nvSpPr>
            <p:spPr>
              <a:xfrm>
                <a:off x="838199" y="2526224"/>
                <a:ext cx="1610533" cy="1193369"/>
              </a:xfrm>
              <a:prstGeom prst="rect">
                <a:avLst/>
              </a:prstGeom>
              <a:noFill/>
              <a:ln w="25400">
                <a:solidFill>
                  <a:srgbClr val="47A8BC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" name="Rechteck 22">
                <a:extLst>
                  <a:ext uri="{FF2B5EF4-FFF2-40B4-BE49-F238E27FC236}">
                    <a16:creationId xmlns:a16="http://schemas.microsoft.com/office/drawing/2014/main" id="{5FDDC2BF-A7E3-1C40-9D71-F0079DC3F106}"/>
                  </a:ext>
                </a:extLst>
              </p:cNvPr>
              <p:cNvSpPr/>
              <p:nvPr/>
            </p:nvSpPr>
            <p:spPr>
              <a:xfrm>
                <a:off x="838198" y="3719593"/>
                <a:ext cx="1610533" cy="743920"/>
              </a:xfrm>
              <a:prstGeom prst="rect">
                <a:avLst/>
              </a:prstGeom>
              <a:solidFill>
                <a:srgbClr val="47A8BC"/>
              </a:solidFill>
              <a:ln w="25400">
                <a:solidFill>
                  <a:srgbClr val="47A8BC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b="1" dirty="0"/>
                  <a:t>New XLSX output</a:t>
                </a:r>
              </a:p>
            </p:txBody>
          </p:sp>
        </p:grp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14234B8D-6F9B-40E8-8C1A-3A2C920D611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52193" y="1864516"/>
              <a:ext cx="909802" cy="9098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3A2A80BC-A983-400F-829F-63C865E58848}"/>
              </a:ext>
            </a:extLst>
          </p:cNvPr>
          <p:cNvGrpSpPr/>
          <p:nvPr/>
        </p:nvGrpSpPr>
        <p:grpSpPr>
          <a:xfrm>
            <a:off x="4505219" y="1750067"/>
            <a:ext cx="3083837" cy="1937289"/>
            <a:chOff x="4505219" y="1750067"/>
            <a:chExt cx="3083837" cy="1937289"/>
          </a:xfrm>
        </p:grpSpPr>
        <p:grpSp>
          <p:nvGrpSpPr>
            <p:cNvPr id="53" name="Gruppieren 52">
              <a:extLst>
                <a:ext uri="{FF2B5EF4-FFF2-40B4-BE49-F238E27FC236}">
                  <a16:creationId xmlns:a16="http://schemas.microsoft.com/office/drawing/2014/main" id="{5999A7A5-0358-5E4F-BC96-36E464D5C637}"/>
                </a:ext>
              </a:extLst>
            </p:cNvPr>
            <p:cNvGrpSpPr/>
            <p:nvPr/>
          </p:nvGrpSpPr>
          <p:grpSpPr>
            <a:xfrm>
              <a:off x="4505219" y="1750067"/>
              <a:ext cx="3083837" cy="1937289"/>
              <a:chOff x="838198" y="2526224"/>
              <a:chExt cx="1610534" cy="1937289"/>
            </a:xfrm>
          </p:grpSpPr>
          <p:sp>
            <p:nvSpPr>
              <p:cNvPr id="55" name="Rechteck 54">
                <a:extLst>
                  <a:ext uri="{FF2B5EF4-FFF2-40B4-BE49-F238E27FC236}">
                    <a16:creationId xmlns:a16="http://schemas.microsoft.com/office/drawing/2014/main" id="{5895827B-7B9F-A146-8EC6-B4FC6AD605FA}"/>
                  </a:ext>
                </a:extLst>
              </p:cNvPr>
              <p:cNvSpPr/>
              <p:nvPr/>
            </p:nvSpPr>
            <p:spPr>
              <a:xfrm>
                <a:off x="838199" y="2526224"/>
                <a:ext cx="1610533" cy="1193369"/>
              </a:xfrm>
              <a:prstGeom prst="rect">
                <a:avLst/>
              </a:prstGeom>
              <a:noFill/>
              <a:ln w="25400">
                <a:solidFill>
                  <a:srgbClr val="47A8BC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6" name="Rechteck 55">
                <a:extLst>
                  <a:ext uri="{FF2B5EF4-FFF2-40B4-BE49-F238E27FC236}">
                    <a16:creationId xmlns:a16="http://schemas.microsoft.com/office/drawing/2014/main" id="{26396D19-07CC-6C49-A764-79988B6328B2}"/>
                  </a:ext>
                </a:extLst>
              </p:cNvPr>
              <p:cNvSpPr/>
              <p:nvPr/>
            </p:nvSpPr>
            <p:spPr>
              <a:xfrm>
                <a:off x="838198" y="3719593"/>
                <a:ext cx="1610533" cy="743920"/>
              </a:xfrm>
              <a:prstGeom prst="rect">
                <a:avLst/>
              </a:prstGeom>
              <a:solidFill>
                <a:srgbClr val="47A8BC"/>
              </a:solidFill>
              <a:ln w="25400">
                <a:solidFill>
                  <a:srgbClr val="47A8BC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b="1" dirty="0"/>
                  <a:t>Use of more fonts for formatting</a:t>
                </a:r>
              </a:p>
            </p:txBody>
          </p:sp>
        </p:grpSp>
        <p:pic>
          <p:nvPicPr>
            <p:cNvPr id="1028" name="Picture 4" descr="Font icon">
              <a:extLst>
                <a:ext uri="{FF2B5EF4-FFF2-40B4-BE49-F238E27FC236}">
                  <a16:creationId xmlns:a16="http://schemas.microsoft.com/office/drawing/2014/main" id="{D3E81AD1-F52A-4C86-AD40-134CF54F7A6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87320" y="1823804"/>
              <a:ext cx="1119632" cy="11196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01F89B67-9F17-4C18-A382-E2D15D3CFD2A}"/>
              </a:ext>
            </a:extLst>
          </p:cNvPr>
          <p:cNvGrpSpPr/>
          <p:nvPr/>
        </p:nvGrpSpPr>
        <p:grpSpPr>
          <a:xfrm>
            <a:off x="4505219" y="4182004"/>
            <a:ext cx="3083837" cy="1937289"/>
            <a:chOff x="4505219" y="4182004"/>
            <a:chExt cx="3083837" cy="1937289"/>
          </a:xfrm>
        </p:grpSpPr>
        <p:grpSp>
          <p:nvGrpSpPr>
            <p:cNvPr id="45" name="Gruppieren 44">
              <a:extLst>
                <a:ext uri="{FF2B5EF4-FFF2-40B4-BE49-F238E27FC236}">
                  <a16:creationId xmlns:a16="http://schemas.microsoft.com/office/drawing/2014/main" id="{B154591C-2EB3-EC49-BE97-2B032544E196}"/>
                </a:ext>
              </a:extLst>
            </p:cNvPr>
            <p:cNvGrpSpPr/>
            <p:nvPr/>
          </p:nvGrpSpPr>
          <p:grpSpPr>
            <a:xfrm>
              <a:off x="4505219" y="4182004"/>
              <a:ext cx="3083837" cy="1937289"/>
              <a:chOff x="838198" y="2526224"/>
              <a:chExt cx="1610534" cy="1937289"/>
            </a:xfrm>
          </p:grpSpPr>
          <p:sp>
            <p:nvSpPr>
              <p:cNvPr id="47" name="Rechteck 46">
                <a:extLst>
                  <a:ext uri="{FF2B5EF4-FFF2-40B4-BE49-F238E27FC236}">
                    <a16:creationId xmlns:a16="http://schemas.microsoft.com/office/drawing/2014/main" id="{078D7E62-E31D-2640-9432-8A0A2FD412B7}"/>
                  </a:ext>
                </a:extLst>
              </p:cNvPr>
              <p:cNvSpPr/>
              <p:nvPr/>
            </p:nvSpPr>
            <p:spPr>
              <a:xfrm>
                <a:off x="838199" y="2526224"/>
                <a:ext cx="1610533" cy="1193369"/>
              </a:xfrm>
              <a:prstGeom prst="rect">
                <a:avLst/>
              </a:prstGeom>
              <a:noFill/>
              <a:ln w="25400">
                <a:solidFill>
                  <a:srgbClr val="47A8BC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8" name="Rechteck 47">
                <a:extLst>
                  <a:ext uri="{FF2B5EF4-FFF2-40B4-BE49-F238E27FC236}">
                    <a16:creationId xmlns:a16="http://schemas.microsoft.com/office/drawing/2014/main" id="{C13932A7-FAED-2742-B430-AC8596558DF6}"/>
                  </a:ext>
                </a:extLst>
              </p:cNvPr>
              <p:cNvSpPr/>
              <p:nvPr/>
            </p:nvSpPr>
            <p:spPr>
              <a:xfrm>
                <a:off x="838198" y="3719593"/>
                <a:ext cx="1610533" cy="743920"/>
              </a:xfrm>
              <a:prstGeom prst="rect">
                <a:avLst/>
              </a:prstGeom>
              <a:solidFill>
                <a:srgbClr val="47A8BC"/>
              </a:solidFill>
              <a:ln w="25400">
                <a:solidFill>
                  <a:srgbClr val="47A8BC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b="1" dirty="0"/>
                  <a:t>Support of new languages</a:t>
                </a:r>
              </a:p>
            </p:txBody>
          </p:sp>
        </p:grpSp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96FC6D8C-22F7-408B-ACE6-6C6A45DADB6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830733" y="4544499"/>
              <a:ext cx="656587" cy="437615"/>
            </a:xfrm>
            <a:prstGeom prst="rect">
              <a:avLst/>
            </a:prstGeom>
          </p:spPr>
        </p:pic>
        <p:pic>
          <p:nvPicPr>
            <p:cNvPr id="50" name="Picture 4" descr="Résultat de recherche d'images pour &quot;thailand flag&quot;">
              <a:extLst>
                <a:ext uri="{FF2B5EF4-FFF2-40B4-BE49-F238E27FC236}">
                  <a16:creationId xmlns:a16="http://schemas.microsoft.com/office/drawing/2014/main" id="{52AAAE73-6DBF-4618-8ACE-96B801DD65F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19208" y="4557010"/>
              <a:ext cx="655855" cy="43761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0" name="Picture 6" descr="Inde Drapeau Pays - Images vectorielles gratuites sur Pixabay">
              <a:extLst>
                <a:ext uri="{FF2B5EF4-FFF2-40B4-BE49-F238E27FC236}">
                  <a16:creationId xmlns:a16="http://schemas.microsoft.com/office/drawing/2014/main" id="{215EFFD2-7B37-4898-8CB5-705596B5DCD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57542" y="4577750"/>
              <a:ext cx="693264" cy="4332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62AB0E8A-74D9-473A-A6ED-5E6ACC641A2B}"/>
              </a:ext>
            </a:extLst>
          </p:cNvPr>
          <p:cNvGrpSpPr/>
          <p:nvPr/>
        </p:nvGrpSpPr>
        <p:grpSpPr>
          <a:xfrm>
            <a:off x="7945261" y="1774436"/>
            <a:ext cx="3083837" cy="1937289"/>
            <a:chOff x="7945261" y="1774436"/>
            <a:chExt cx="3083837" cy="1937289"/>
          </a:xfrm>
        </p:grpSpPr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7A3A77A0-73CD-0D42-B7D3-9B55E2ABE439}"/>
                </a:ext>
              </a:extLst>
            </p:cNvPr>
            <p:cNvGrpSpPr/>
            <p:nvPr/>
          </p:nvGrpSpPr>
          <p:grpSpPr>
            <a:xfrm>
              <a:off x="7945261" y="1774436"/>
              <a:ext cx="3083837" cy="1937289"/>
              <a:chOff x="838198" y="2526224"/>
              <a:chExt cx="1610534" cy="1937289"/>
            </a:xfrm>
          </p:grpSpPr>
          <p:sp>
            <p:nvSpPr>
              <p:cNvPr id="7" name="Rechteck 6">
                <a:extLst>
                  <a:ext uri="{FF2B5EF4-FFF2-40B4-BE49-F238E27FC236}">
                    <a16:creationId xmlns:a16="http://schemas.microsoft.com/office/drawing/2014/main" id="{C17ABA4C-61A1-CE4F-8B5E-2735D7597B46}"/>
                  </a:ext>
                </a:extLst>
              </p:cNvPr>
              <p:cNvSpPr/>
              <p:nvPr/>
            </p:nvSpPr>
            <p:spPr>
              <a:xfrm>
                <a:off x="838199" y="2526224"/>
                <a:ext cx="1610533" cy="1193369"/>
              </a:xfrm>
              <a:prstGeom prst="rect">
                <a:avLst/>
              </a:prstGeom>
              <a:noFill/>
              <a:ln w="25400">
                <a:solidFill>
                  <a:srgbClr val="47A8BC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" name="Rechteck 9">
                <a:extLst>
                  <a:ext uri="{FF2B5EF4-FFF2-40B4-BE49-F238E27FC236}">
                    <a16:creationId xmlns:a16="http://schemas.microsoft.com/office/drawing/2014/main" id="{F18861FD-C0AA-9E4B-9201-63B7AE63F81A}"/>
                  </a:ext>
                </a:extLst>
              </p:cNvPr>
              <p:cNvSpPr/>
              <p:nvPr/>
            </p:nvSpPr>
            <p:spPr>
              <a:xfrm>
                <a:off x="838198" y="3719593"/>
                <a:ext cx="1610533" cy="743920"/>
              </a:xfrm>
              <a:prstGeom prst="rect">
                <a:avLst/>
              </a:prstGeom>
              <a:solidFill>
                <a:srgbClr val="47A8BC"/>
              </a:solidFill>
              <a:ln w="25400">
                <a:solidFill>
                  <a:srgbClr val="47A8BC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b="1" dirty="0"/>
                  <a:t>Automatic language detection</a:t>
                </a:r>
              </a:p>
            </p:txBody>
          </p:sp>
        </p:grpSp>
        <p:pic>
          <p:nvPicPr>
            <p:cNvPr id="1034" name="Picture 10" descr="Language Icon">
              <a:extLst>
                <a:ext uri="{FF2B5EF4-FFF2-40B4-BE49-F238E27FC236}">
                  <a16:creationId xmlns:a16="http://schemas.microsoft.com/office/drawing/2014/main" id="{3B14E405-E730-40C4-9B19-99E613133D0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28354" y="1967969"/>
              <a:ext cx="717647" cy="8313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3ECA5E4C-8366-417E-9103-B820E40741FF}"/>
              </a:ext>
            </a:extLst>
          </p:cNvPr>
          <p:cNvGrpSpPr/>
          <p:nvPr/>
        </p:nvGrpSpPr>
        <p:grpSpPr>
          <a:xfrm>
            <a:off x="1065177" y="4186506"/>
            <a:ext cx="3083837" cy="1937289"/>
            <a:chOff x="1065177" y="4186506"/>
            <a:chExt cx="3083837" cy="1937289"/>
          </a:xfrm>
        </p:grpSpPr>
        <p:grpSp>
          <p:nvGrpSpPr>
            <p:cNvPr id="44" name="Gruppieren 20">
              <a:extLst>
                <a:ext uri="{FF2B5EF4-FFF2-40B4-BE49-F238E27FC236}">
                  <a16:creationId xmlns:a16="http://schemas.microsoft.com/office/drawing/2014/main" id="{DC69BD08-B003-41A2-AD6D-FB8820D94BE3}"/>
                </a:ext>
              </a:extLst>
            </p:cNvPr>
            <p:cNvGrpSpPr/>
            <p:nvPr/>
          </p:nvGrpSpPr>
          <p:grpSpPr>
            <a:xfrm>
              <a:off x="1065177" y="4186506"/>
              <a:ext cx="3083837" cy="1937289"/>
              <a:chOff x="838198" y="2526224"/>
              <a:chExt cx="1610534" cy="1937289"/>
            </a:xfrm>
          </p:grpSpPr>
          <p:sp>
            <p:nvSpPr>
              <p:cNvPr id="46" name="Rechteck 21">
                <a:extLst>
                  <a:ext uri="{FF2B5EF4-FFF2-40B4-BE49-F238E27FC236}">
                    <a16:creationId xmlns:a16="http://schemas.microsoft.com/office/drawing/2014/main" id="{B9F434AD-22E2-46C2-92C6-050DE3150506}"/>
                  </a:ext>
                </a:extLst>
              </p:cNvPr>
              <p:cNvSpPr/>
              <p:nvPr/>
            </p:nvSpPr>
            <p:spPr>
              <a:xfrm>
                <a:off x="838199" y="2526224"/>
                <a:ext cx="1610533" cy="1193369"/>
              </a:xfrm>
              <a:prstGeom prst="rect">
                <a:avLst/>
              </a:prstGeom>
              <a:noFill/>
              <a:ln w="25400">
                <a:solidFill>
                  <a:srgbClr val="47A8BC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9" name="Rechteck 22">
                <a:extLst>
                  <a:ext uri="{FF2B5EF4-FFF2-40B4-BE49-F238E27FC236}">
                    <a16:creationId xmlns:a16="http://schemas.microsoft.com/office/drawing/2014/main" id="{908C6053-354D-4A18-BCEF-43ED9FF07E54}"/>
                  </a:ext>
                </a:extLst>
              </p:cNvPr>
              <p:cNvSpPr/>
              <p:nvPr/>
            </p:nvSpPr>
            <p:spPr>
              <a:xfrm>
                <a:off x="838198" y="3719593"/>
                <a:ext cx="1610533" cy="743920"/>
              </a:xfrm>
              <a:prstGeom prst="rect">
                <a:avLst/>
              </a:prstGeom>
              <a:solidFill>
                <a:srgbClr val="47A8BC"/>
              </a:solidFill>
              <a:ln w="25400">
                <a:solidFill>
                  <a:srgbClr val="47A8BC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b="1" dirty="0"/>
                  <a:t>Loading of PDF with Text layer</a:t>
                </a:r>
              </a:p>
            </p:txBody>
          </p:sp>
        </p:grp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9B71422E-15DE-47F1-855A-ECCC1895927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011627" y="4218695"/>
              <a:ext cx="1086091" cy="1086091"/>
            </a:xfrm>
            <a:prstGeom prst="rect">
              <a:avLst/>
            </a:prstGeom>
          </p:spPr>
        </p:pic>
      </p:grpSp>
      <p:pic>
        <p:nvPicPr>
          <p:cNvPr id="37" name="Picture 4">
            <a:extLst>
              <a:ext uri="{FF2B5EF4-FFF2-40B4-BE49-F238E27FC236}">
                <a16:creationId xmlns:a16="http://schemas.microsoft.com/office/drawing/2014/main" id="{6F089250-8A2A-44A1-9E92-B6BBB389F5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177" y="734205"/>
            <a:ext cx="2047875" cy="809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AAAA6619-7A5E-43F1-9DA6-519820A5425E}"/>
              </a:ext>
            </a:extLst>
          </p:cNvPr>
          <p:cNvGrpSpPr/>
          <p:nvPr/>
        </p:nvGrpSpPr>
        <p:grpSpPr>
          <a:xfrm>
            <a:off x="7949922" y="4166623"/>
            <a:ext cx="3083837" cy="1937289"/>
            <a:chOff x="7949922" y="4166623"/>
            <a:chExt cx="3083837" cy="1937289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C0BEF94C-4C1F-480B-AE7D-68F8ACC75839}"/>
                </a:ext>
              </a:extLst>
            </p:cNvPr>
            <p:cNvGrpSpPr/>
            <p:nvPr/>
          </p:nvGrpSpPr>
          <p:grpSpPr>
            <a:xfrm>
              <a:off x="7949922" y="4166623"/>
              <a:ext cx="3083837" cy="1937289"/>
              <a:chOff x="7949922" y="4166623"/>
              <a:chExt cx="3083837" cy="1937289"/>
            </a:xfrm>
          </p:grpSpPr>
          <p:grpSp>
            <p:nvGrpSpPr>
              <p:cNvPr id="15" name="Gruppieren 14">
                <a:extLst>
                  <a:ext uri="{FF2B5EF4-FFF2-40B4-BE49-F238E27FC236}">
                    <a16:creationId xmlns:a16="http://schemas.microsoft.com/office/drawing/2014/main" id="{0275D716-6BF1-5F4B-95C9-A10C068EBEE8}"/>
                  </a:ext>
                </a:extLst>
              </p:cNvPr>
              <p:cNvGrpSpPr/>
              <p:nvPr/>
            </p:nvGrpSpPr>
            <p:grpSpPr>
              <a:xfrm>
                <a:off x="7949922" y="4166623"/>
                <a:ext cx="3083837" cy="1937289"/>
                <a:chOff x="838198" y="2526224"/>
                <a:chExt cx="1610534" cy="1937289"/>
              </a:xfrm>
            </p:grpSpPr>
            <p:sp>
              <p:nvSpPr>
                <p:cNvPr id="16" name="Rechteck 15">
                  <a:extLst>
                    <a:ext uri="{FF2B5EF4-FFF2-40B4-BE49-F238E27FC236}">
                      <a16:creationId xmlns:a16="http://schemas.microsoft.com/office/drawing/2014/main" id="{975699BF-DD17-6748-9C9F-466BEF075218}"/>
                    </a:ext>
                  </a:extLst>
                </p:cNvPr>
                <p:cNvSpPr/>
                <p:nvPr/>
              </p:nvSpPr>
              <p:spPr>
                <a:xfrm>
                  <a:off x="838199" y="2526224"/>
                  <a:ext cx="1610533" cy="1193369"/>
                </a:xfrm>
                <a:prstGeom prst="rect">
                  <a:avLst/>
                </a:prstGeom>
                <a:noFill/>
                <a:ln w="25400">
                  <a:solidFill>
                    <a:srgbClr val="47A8BC"/>
                  </a:solidFill>
                </a:ln>
                <a:effectLst>
                  <a:outerShdw blurRad="50800" dist="50800" dir="5400000" algn="ctr" rotWithShape="0">
                    <a:schemeClr val="bg1"/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7" name="Rechteck 16">
                  <a:extLst>
                    <a:ext uri="{FF2B5EF4-FFF2-40B4-BE49-F238E27FC236}">
                      <a16:creationId xmlns:a16="http://schemas.microsoft.com/office/drawing/2014/main" id="{C6DB95A4-A24D-8145-AE17-522743042343}"/>
                    </a:ext>
                  </a:extLst>
                </p:cNvPr>
                <p:cNvSpPr/>
                <p:nvPr/>
              </p:nvSpPr>
              <p:spPr>
                <a:xfrm>
                  <a:off x="838198" y="3719593"/>
                  <a:ext cx="1610533" cy="743920"/>
                </a:xfrm>
                <a:prstGeom prst="rect">
                  <a:avLst/>
                </a:prstGeom>
                <a:solidFill>
                  <a:srgbClr val="47A8BC"/>
                </a:solidFill>
                <a:ln w="25400">
                  <a:solidFill>
                    <a:srgbClr val="47A8BC"/>
                  </a:solidFill>
                </a:ln>
                <a:effectLst>
                  <a:outerShdw blurRad="50800" dist="50800" dir="5400000" algn="ctr" rotWithShape="0">
                    <a:schemeClr val="bg1"/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b="1" dirty="0"/>
                    <a:t>Support of new platforms</a:t>
                  </a:r>
                </a:p>
              </p:txBody>
            </p:sp>
          </p:grpSp>
          <p:pic>
            <p:nvPicPr>
              <p:cNvPr id="1038" name="Picture 14" descr="Microsoft Prepares x86-64 Support for Windows on ARM Devices">
                <a:extLst>
                  <a:ext uri="{FF2B5EF4-FFF2-40B4-BE49-F238E27FC236}">
                    <a16:creationId xmlns:a16="http://schemas.microsoft.com/office/drawing/2014/main" id="{BF0842DC-F534-40A7-B8A4-AA278B7F5CB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49895"/>
              <a:stretch/>
            </p:blipFill>
            <p:spPr bwMode="auto">
              <a:xfrm>
                <a:off x="9107660" y="4402862"/>
                <a:ext cx="638402" cy="720891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  <p:pic>
            <p:nvPicPr>
              <p:cNvPr id="1040" name="Picture 16" descr="macOS 11 Big Sur est là : nouveautés, compatibilité, tout ce qu&amp;#39;il faut  savoir">
                <a:extLst>
                  <a:ext uri="{FF2B5EF4-FFF2-40B4-BE49-F238E27FC236}">
                    <a16:creationId xmlns:a16="http://schemas.microsoft.com/office/drawing/2014/main" id="{2F08C388-BD54-4479-A40D-008FC555FFE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5716" r="16228"/>
              <a:stretch/>
            </p:blipFill>
            <p:spPr bwMode="auto">
              <a:xfrm>
                <a:off x="10084082" y="4402862"/>
                <a:ext cx="756171" cy="739713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</p:grpSp>
        <p:pic>
          <p:nvPicPr>
            <p:cNvPr id="52226" name="Picture 2" descr="Arch Linux ARM · GitHub">
              <a:extLst>
                <a:ext uri="{FF2B5EF4-FFF2-40B4-BE49-F238E27FC236}">
                  <a16:creationId xmlns:a16="http://schemas.microsoft.com/office/drawing/2014/main" id="{404006C2-29EA-4748-BDFB-0ECD934BAD9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68347" y="4484083"/>
              <a:ext cx="720891" cy="720891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</p:grpSp>
    </p:spTree>
    <p:extLst>
      <p:ext uri="{BB962C8B-B14F-4D97-AF65-F5344CB8AC3E}">
        <p14:creationId xmlns:p14="http://schemas.microsoft.com/office/powerpoint/2010/main" val="32299625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C6C02592-FBB9-4248-9116-01F38CB8CC76}"/>
              </a:ext>
            </a:extLst>
          </p:cNvPr>
          <p:cNvGrpSpPr/>
          <p:nvPr/>
        </p:nvGrpSpPr>
        <p:grpSpPr>
          <a:xfrm>
            <a:off x="2089841" y="1722732"/>
            <a:ext cx="3083837" cy="1937289"/>
            <a:chOff x="2089841" y="1722732"/>
            <a:chExt cx="3083837" cy="1937289"/>
          </a:xfrm>
        </p:grpSpPr>
        <p:grpSp>
          <p:nvGrpSpPr>
            <p:cNvPr id="21" name="Gruppieren 20">
              <a:extLst>
                <a:ext uri="{FF2B5EF4-FFF2-40B4-BE49-F238E27FC236}">
                  <a16:creationId xmlns:a16="http://schemas.microsoft.com/office/drawing/2014/main" id="{4C8795E5-A482-994F-899E-E05691581D5C}"/>
                </a:ext>
              </a:extLst>
            </p:cNvPr>
            <p:cNvGrpSpPr/>
            <p:nvPr/>
          </p:nvGrpSpPr>
          <p:grpSpPr>
            <a:xfrm>
              <a:off x="2089841" y="1722732"/>
              <a:ext cx="3083837" cy="1937289"/>
              <a:chOff x="838198" y="2526224"/>
              <a:chExt cx="1610534" cy="1937289"/>
            </a:xfrm>
          </p:grpSpPr>
          <p:sp>
            <p:nvSpPr>
              <p:cNvPr id="22" name="Rechteck 21">
                <a:extLst>
                  <a:ext uri="{FF2B5EF4-FFF2-40B4-BE49-F238E27FC236}">
                    <a16:creationId xmlns:a16="http://schemas.microsoft.com/office/drawing/2014/main" id="{584EC853-E26D-CB47-B1DB-2A2B2E6A221C}"/>
                  </a:ext>
                </a:extLst>
              </p:cNvPr>
              <p:cNvSpPr/>
              <p:nvPr/>
            </p:nvSpPr>
            <p:spPr>
              <a:xfrm>
                <a:off x="838199" y="2526224"/>
                <a:ext cx="1610533" cy="1193369"/>
              </a:xfrm>
              <a:prstGeom prst="rect">
                <a:avLst/>
              </a:prstGeom>
              <a:noFill/>
              <a:ln w="25400">
                <a:solidFill>
                  <a:srgbClr val="47A8BC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" name="Rechteck 22">
                <a:extLst>
                  <a:ext uri="{FF2B5EF4-FFF2-40B4-BE49-F238E27FC236}">
                    <a16:creationId xmlns:a16="http://schemas.microsoft.com/office/drawing/2014/main" id="{5FDDC2BF-A7E3-1C40-9D71-F0079DC3F106}"/>
                  </a:ext>
                </a:extLst>
              </p:cNvPr>
              <p:cNvSpPr/>
              <p:nvPr/>
            </p:nvSpPr>
            <p:spPr>
              <a:xfrm>
                <a:off x="838198" y="3719593"/>
                <a:ext cx="1610533" cy="743920"/>
              </a:xfrm>
              <a:prstGeom prst="rect">
                <a:avLst/>
              </a:prstGeom>
              <a:solidFill>
                <a:srgbClr val="47A8BC"/>
              </a:solidFill>
              <a:ln w="25400">
                <a:solidFill>
                  <a:srgbClr val="47A8BC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b="1" dirty="0"/>
                  <a:t>OCR</a:t>
                </a:r>
              </a:p>
            </p:txBody>
          </p:sp>
        </p:grpSp>
        <p:pic>
          <p:nvPicPr>
            <p:cNvPr id="52" name="Picture 1032" descr="Arabic-language">
              <a:extLst>
                <a:ext uri="{FF2B5EF4-FFF2-40B4-BE49-F238E27FC236}">
                  <a16:creationId xmlns:a16="http://schemas.microsoft.com/office/drawing/2014/main" id="{D1F50340-B185-4766-B813-395ACE9C3B0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731891" y="1966750"/>
              <a:ext cx="1304925" cy="355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4" name="Picture 28" descr="Untitled-7">
              <a:extLst>
                <a:ext uri="{FF2B5EF4-FFF2-40B4-BE49-F238E27FC236}">
                  <a16:creationId xmlns:a16="http://schemas.microsoft.com/office/drawing/2014/main" id="{7AC21A63-7C63-4663-B39E-F9C4C329030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747333" y="2452992"/>
              <a:ext cx="1865313" cy="2047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7" name="Picture 26" descr="Untitled-5">
              <a:extLst>
                <a:ext uri="{FF2B5EF4-FFF2-40B4-BE49-F238E27FC236}">
                  <a16:creationId xmlns:a16="http://schemas.microsoft.com/office/drawing/2014/main" id="{855CF595-6C42-4B4F-8BEE-B94093CDA1F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283455" y="1894143"/>
              <a:ext cx="1243013" cy="355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84187762-B99D-4052-A795-18673BDDC0B4}"/>
              </a:ext>
            </a:extLst>
          </p:cNvPr>
          <p:cNvGrpSpPr/>
          <p:nvPr/>
        </p:nvGrpSpPr>
        <p:grpSpPr>
          <a:xfrm>
            <a:off x="6807609" y="1722732"/>
            <a:ext cx="3083837" cy="1937289"/>
            <a:chOff x="6807609" y="1722732"/>
            <a:chExt cx="3083837" cy="1937289"/>
          </a:xfrm>
        </p:grpSpPr>
        <p:grpSp>
          <p:nvGrpSpPr>
            <p:cNvPr id="44" name="Gruppieren 20">
              <a:extLst>
                <a:ext uri="{FF2B5EF4-FFF2-40B4-BE49-F238E27FC236}">
                  <a16:creationId xmlns:a16="http://schemas.microsoft.com/office/drawing/2014/main" id="{DC69BD08-B003-41A2-AD6D-FB8820D94BE3}"/>
                </a:ext>
              </a:extLst>
            </p:cNvPr>
            <p:cNvGrpSpPr/>
            <p:nvPr/>
          </p:nvGrpSpPr>
          <p:grpSpPr>
            <a:xfrm>
              <a:off x="6807609" y="1722732"/>
              <a:ext cx="3083837" cy="1937289"/>
              <a:chOff x="838198" y="2526224"/>
              <a:chExt cx="1610534" cy="1937289"/>
            </a:xfrm>
          </p:grpSpPr>
          <p:sp>
            <p:nvSpPr>
              <p:cNvPr id="46" name="Rechteck 21">
                <a:extLst>
                  <a:ext uri="{FF2B5EF4-FFF2-40B4-BE49-F238E27FC236}">
                    <a16:creationId xmlns:a16="http://schemas.microsoft.com/office/drawing/2014/main" id="{B9F434AD-22E2-46C2-92C6-050DE3150506}"/>
                  </a:ext>
                </a:extLst>
              </p:cNvPr>
              <p:cNvSpPr/>
              <p:nvPr/>
            </p:nvSpPr>
            <p:spPr>
              <a:xfrm>
                <a:off x="838199" y="2526224"/>
                <a:ext cx="1610533" cy="1193369"/>
              </a:xfrm>
              <a:prstGeom prst="rect">
                <a:avLst/>
              </a:prstGeom>
              <a:noFill/>
              <a:ln w="25400">
                <a:solidFill>
                  <a:srgbClr val="47A8BC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9" name="Rechteck 22">
                <a:extLst>
                  <a:ext uri="{FF2B5EF4-FFF2-40B4-BE49-F238E27FC236}">
                    <a16:creationId xmlns:a16="http://schemas.microsoft.com/office/drawing/2014/main" id="{908C6053-354D-4A18-BCEF-43ED9FF07E54}"/>
                  </a:ext>
                </a:extLst>
              </p:cNvPr>
              <p:cNvSpPr/>
              <p:nvPr/>
            </p:nvSpPr>
            <p:spPr>
              <a:xfrm>
                <a:off x="838198" y="3719593"/>
                <a:ext cx="1610533" cy="743920"/>
              </a:xfrm>
              <a:prstGeom prst="rect">
                <a:avLst/>
              </a:prstGeom>
              <a:solidFill>
                <a:srgbClr val="47A8BC"/>
              </a:solidFill>
              <a:ln w="25400">
                <a:solidFill>
                  <a:srgbClr val="47A8BC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b="1" dirty="0"/>
                  <a:t>Imaging</a:t>
                </a:r>
              </a:p>
            </p:txBody>
          </p:sp>
        </p:grp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FE9ED6A7-6DD6-4F60-A262-4F3181F44A3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377506" y="1832517"/>
              <a:ext cx="1857489" cy="521166"/>
            </a:xfrm>
            <a:prstGeom prst="rect">
              <a:avLst/>
            </a:prstGeom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18126CBB-0269-439E-BB97-467B41EF1C1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737922" y="2337665"/>
              <a:ext cx="1675176" cy="521166"/>
            </a:xfrm>
            <a:prstGeom prst="rect">
              <a:avLst/>
            </a:prstGeom>
          </p:spPr>
        </p:pic>
      </p:grpSp>
      <p:sp>
        <p:nvSpPr>
          <p:cNvPr id="29" name="Rechteck 2">
            <a:extLst>
              <a:ext uri="{FF2B5EF4-FFF2-40B4-BE49-F238E27FC236}">
                <a16:creationId xmlns:a16="http://schemas.microsoft.com/office/drawing/2014/main" id="{56FC110D-6EA6-4997-921C-8502C4E05041}"/>
              </a:ext>
            </a:extLst>
          </p:cNvPr>
          <p:cNvSpPr/>
          <p:nvPr/>
        </p:nvSpPr>
        <p:spPr>
          <a:xfrm>
            <a:off x="3766194" y="738707"/>
            <a:ext cx="492993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dirty="0">
                <a:solidFill>
                  <a:schemeClr val="accent5"/>
                </a:solidFill>
              </a:rPr>
              <a:t>| Technologies</a:t>
            </a:r>
          </a:p>
        </p:txBody>
      </p:sp>
      <p:pic>
        <p:nvPicPr>
          <p:cNvPr id="30" name="Picture 6">
            <a:extLst>
              <a:ext uri="{FF2B5EF4-FFF2-40B4-BE49-F238E27FC236}">
                <a16:creationId xmlns:a16="http://schemas.microsoft.com/office/drawing/2014/main" id="{2BBCA5F3-3ECD-49A8-BEEB-178CD9AFC2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67" y="610037"/>
            <a:ext cx="2314575" cy="1019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DF803515-B7AB-43F7-8061-CEF8DB14A056}"/>
              </a:ext>
            </a:extLst>
          </p:cNvPr>
          <p:cNvGrpSpPr/>
          <p:nvPr/>
        </p:nvGrpSpPr>
        <p:grpSpPr>
          <a:xfrm>
            <a:off x="2089839" y="4166623"/>
            <a:ext cx="3083837" cy="1937289"/>
            <a:chOff x="2089839" y="4166623"/>
            <a:chExt cx="3083837" cy="1937289"/>
          </a:xfrm>
        </p:grpSpPr>
        <p:grpSp>
          <p:nvGrpSpPr>
            <p:cNvPr id="45" name="Gruppieren 44">
              <a:extLst>
                <a:ext uri="{FF2B5EF4-FFF2-40B4-BE49-F238E27FC236}">
                  <a16:creationId xmlns:a16="http://schemas.microsoft.com/office/drawing/2014/main" id="{B154591C-2EB3-EC49-BE97-2B032544E196}"/>
                </a:ext>
              </a:extLst>
            </p:cNvPr>
            <p:cNvGrpSpPr/>
            <p:nvPr/>
          </p:nvGrpSpPr>
          <p:grpSpPr>
            <a:xfrm>
              <a:off x="2089839" y="4166623"/>
              <a:ext cx="3083837" cy="1937289"/>
              <a:chOff x="838198" y="2526224"/>
              <a:chExt cx="1610534" cy="1937289"/>
            </a:xfrm>
          </p:grpSpPr>
          <p:sp>
            <p:nvSpPr>
              <p:cNvPr id="47" name="Rechteck 46">
                <a:extLst>
                  <a:ext uri="{FF2B5EF4-FFF2-40B4-BE49-F238E27FC236}">
                    <a16:creationId xmlns:a16="http://schemas.microsoft.com/office/drawing/2014/main" id="{078D7E62-E31D-2640-9432-8A0A2FD412B7}"/>
                  </a:ext>
                </a:extLst>
              </p:cNvPr>
              <p:cNvSpPr/>
              <p:nvPr/>
            </p:nvSpPr>
            <p:spPr>
              <a:xfrm>
                <a:off x="838199" y="2526224"/>
                <a:ext cx="1610533" cy="1193369"/>
              </a:xfrm>
              <a:prstGeom prst="rect">
                <a:avLst/>
              </a:prstGeom>
              <a:noFill/>
              <a:ln w="25400">
                <a:solidFill>
                  <a:srgbClr val="47A8BC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8" name="Rechteck 47">
                <a:extLst>
                  <a:ext uri="{FF2B5EF4-FFF2-40B4-BE49-F238E27FC236}">
                    <a16:creationId xmlns:a16="http://schemas.microsoft.com/office/drawing/2014/main" id="{C13932A7-FAED-2742-B430-AC8596558DF6}"/>
                  </a:ext>
                </a:extLst>
              </p:cNvPr>
              <p:cNvSpPr/>
              <p:nvPr/>
            </p:nvSpPr>
            <p:spPr>
              <a:xfrm>
                <a:off x="838198" y="3719593"/>
                <a:ext cx="1610533" cy="743920"/>
              </a:xfrm>
              <a:prstGeom prst="rect">
                <a:avLst/>
              </a:prstGeom>
              <a:solidFill>
                <a:srgbClr val="47A8BC"/>
              </a:solidFill>
              <a:ln w="25400">
                <a:solidFill>
                  <a:srgbClr val="47A8BC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b="1" dirty="0"/>
                  <a:t>Compression</a:t>
                </a:r>
              </a:p>
            </p:txBody>
          </p:sp>
        </p:grpSp>
        <p:pic>
          <p:nvPicPr>
            <p:cNvPr id="31" name="Picture 22" descr="Compress, compressor, data, shrink, zip icon">
              <a:extLst>
                <a:ext uri="{FF2B5EF4-FFF2-40B4-BE49-F238E27FC236}">
                  <a16:creationId xmlns:a16="http://schemas.microsoft.com/office/drawing/2014/main" id="{5216F055-F74D-49A5-ACED-7D14EC15922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18651" y="4326379"/>
              <a:ext cx="826209" cy="8262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AF7EB826-B8C5-49F0-A5E4-997A15E2B9AA}"/>
              </a:ext>
            </a:extLst>
          </p:cNvPr>
          <p:cNvGrpSpPr/>
          <p:nvPr/>
        </p:nvGrpSpPr>
        <p:grpSpPr>
          <a:xfrm>
            <a:off x="6807607" y="4222439"/>
            <a:ext cx="3083837" cy="1937289"/>
            <a:chOff x="6807607" y="4222439"/>
            <a:chExt cx="3083837" cy="1937289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AC5359E5-CB9A-4F6F-9BDD-148A5C75852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129442" y="4544013"/>
              <a:ext cx="762000" cy="923925"/>
            </a:xfrm>
            <a:prstGeom prst="rect">
              <a:avLst/>
            </a:prstGeom>
          </p:spPr>
        </p:pic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0275D716-6BF1-5F4B-95C9-A10C068EBEE8}"/>
                </a:ext>
              </a:extLst>
            </p:cNvPr>
            <p:cNvGrpSpPr/>
            <p:nvPr/>
          </p:nvGrpSpPr>
          <p:grpSpPr>
            <a:xfrm>
              <a:off x="6807607" y="4222439"/>
              <a:ext cx="3083837" cy="1937289"/>
              <a:chOff x="838198" y="2526224"/>
              <a:chExt cx="1610534" cy="1937289"/>
            </a:xfrm>
          </p:grpSpPr>
          <p:sp>
            <p:nvSpPr>
              <p:cNvPr id="16" name="Rechteck 15">
                <a:extLst>
                  <a:ext uri="{FF2B5EF4-FFF2-40B4-BE49-F238E27FC236}">
                    <a16:creationId xmlns:a16="http://schemas.microsoft.com/office/drawing/2014/main" id="{975699BF-DD17-6748-9C9F-466BEF075218}"/>
                  </a:ext>
                </a:extLst>
              </p:cNvPr>
              <p:cNvSpPr/>
              <p:nvPr/>
            </p:nvSpPr>
            <p:spPr>
              <a:xfrm>
                <a:off x="838199" y="2526224"/>
                <a:ext cx="1610533" cy="1193369"/>
              </a:xfrm>
              <a:prstGeom prst="rect">
                <a:avLst/>
              </a:prstGeom>
              <a:noFill/>
              <a:ln w="25400">
                <a:solidFill>
                  <a:srgbClr val="47A8BC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" name="Rechteck 16">
                <a:extLst>
                  <a:ext uri="{FF2B5EF4-FFF2-40B4-BE49-F238E27FC236}">
                    <a16:creationId xmlns:a16="http://schemas.microsoft.com/office/drawing/2014/main" id="{C6DB95A4-A24D-8145-AE17-522743042343}"/>
                  </a:ext>
                </a:extLst>
              </p:cNvPr>
              <p:cNvSpPr/>
              <p:nvPr/>
            </p:nvSpPr>
            <p:spPr>
              <a:xfrm>
                <a:off x="838198" y="3719593"/>
                <a:ext cx="1610533" cy="743920"/>
              </a:xfrm>
              <a:prstGeom prst="rect">
                <a:avLst/>
              </a:prstGeom>
              <a:solidFill>
                <a:srgbClr val="47A8BC"/>
              </a:solidFill>
              <a:ln w="25400">
                <a:solidFill>
                  <a:srgbClr val="47A8BC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b="1" dirty="0"/>
                  <a:t>Formatting</a:t>
                </a:r>
              </a:p>
            </p:txBody>
          </p:sp>
        </p:grpSp>
        <p:pic>
          <p:nvPicPr>
            <p:cNvPr id="33" name="Picture 26">
              <a:extLst>
                <a:ext uri="{FF2B5EF4-FFF2-40B4-BE49-F238E27FC236}">
                  <a16:creationId xmlns:a16="http://schemas.microsoft.com/office/drawing/2014/main" id="{1F60BE0F-F9B8-429A-BD68-B008856759A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48222" y="4326379"/>
              <a:ext cx="662167" cy="662167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4" name="Picture 27">
              <a:extLst>
                <a:ext uri="{FF2B5EF4-FFF2-40B4-BE49-F238E27FC236}">
                  <a16:creationId xmlns:a16="http://schemas.microsoft.com/office/drawing/2014/main" id="{A8B9964B-EEAD-4555-A6F1-A92620C6B52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427153" y="4343809"/>
              <a:ext cx="662167" cy="662167"/>
            </a:xfrm>
            <a:prstGeom prst="rect">
              <a:avLst/>
            </a:prstGeom>
          </p:spPr>
        </p:pic>
        <p:pic>
          <p:nvPicPr>
            <p:cNvPr id="35" name="Picture 28">
              <a:extLst>
                <a:ext uri="{FF2B5EF4-FFF2-40B4-BE49-F238E27FC236}">
                  <a16:creationId xmlns:a16="http://schemas.microsoft.com/office/drawing/2014/main" id="{D5D7134C-7E01-4D9B-8A77-AB20EB12924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75985" y="4657462"/>
              <a:ext cx="662167" cy="66216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370155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86BD549F-3BFB-48A8-9BE9-3737AFE26BC7}"/>
              </a:ext>
            </a:extLst>
          </p:cNvPr>
          <p:cNvGrpSpPr/>
          <p:nvPr/>
        </p:nvGrpSpPr>
        <p:grpSpPr>
          <a:xfrm>
            <a:off x="1065177" y="1722732"/>
            <a:ext cx="3083837" cy="1937289"/>
            <a:chOff x="1065177" y="1722732"/>
            <a:chExt cx="3083837" cy="1937289"/>
          </a:xfrm>
        </p:grpSpPr>
        <p:grpSp>
          <p:nvGrpSpPr>
            <p:cNvPr id="21" name="Gruppieren 20">
              <a:extLst>
                <a:ext uri="{FF2B5EF4-FFF2-40B4-BE49-F238E27FC236}">
                  <a16:creationId xmlns:a16="http://schemas.microsoft.com/office/drawing/2014/main" id="{4C8795E5-A482-994F-899E-E05691581D5C}"/>
                </a:ext>
              </a:extLst>
            </p:cNvPr>
            <p:cNvGrpSpPr/>
            <p:nvPr/>
          </p:nvGrpSpPr>
          <p:grpSpPr>
            <a:xfrm>
              <a:off x="1065177" y="1722732"/>
              <a:ext cx="3083837" cy="1937289"/>
              <a:chOff x="838198" y="2526224"/>
              <a:chExt cx="1610534" cy="1937289"/>
            </a:xfrm>
          </p:grpSpPr>
          <p:sp>
            <p:nvSpPr>
              <p:cNvPr id="22" name="Rechteck 21">
                <a:extLst>
                  <a:ext uri="{FF2B5EF4-FFF2-40B4-BE49-F238E27FC236}">
                    <a16:creationId xmlns:a16="http://schemas.microsoft.com/office/drawing/2014/main" id="{584EC853-E26D-CB47-B1DB-2A2B2E6A221C}"/>
                  </a:ext>
                </a:extLst>
              </p:cNvPr>
              <p:cNvSpPr/>
              <p:nvPr/>
            </p:nvSpPr>
            <p:spPr>
              <a:xfrm>
                <a:off x="838199" y="2526224"/>
                <a:ext cx="1610533" cy="1193369"/>
              </a:xfrm>
              <a:prstGeom prst="rect">
                <a:avLst/>
              </a:prstGeom>
              <a:noFill/>
              <a:ln w="25400">
                <a:solidFill>
                  <a:srgbClr val="47A8BC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" name="Rechteck 22">
                <a:extLst>
                  <a:ext uri="{FF2B5EF4-FFF2-40B4-BE49-F238E27FC236}">
                    <a16:creationId xmlns:a16="http://schemas.microsoft.com/office/drawing/2014/main" id="{5FDDC2BF-A7E3-1C40-9D71-F0079DC3F106}"/>
                  </a:ext>
                </a:extLst>
              </p:cNvPr>
              <p:cNvSpPr/>
              <p:nvPr/>
            </p:nvSpPr>
            <p:spPr>
              <a:xfrm>
                <a:off x="838198" y="3719593"/>
                <a:ext cx="1610533" cy="743920"/>
              </a:xfrm>
              <a:prstGeom prst="rect">
                <a:avLst/>
              </a:prstGeom>
              <a:solidFill>
                <a:srgbClr val="47A8BC"/>
              </a:solidFill>
              <a:ln w="25400">
                <a:solidFill>
                  <a:srgbClr val="47A8BC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b="1" dirty="0"/>
                  <a:t>Classification</a:t>
                </a:r>
              </a:p>
            </p:txBody>
          </p:sp>
        </p:grp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DF02E3D5-1247-4A6B-8DB1-B595435C154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6004" b="93246" l="3654" r="93077">
                          <a14:foregroundMark x1="4038" y1="76923" x2="4038" y2="76923"/>
                          <a14:foregroundMark x1="6731" y1="93058" x2="6731" y2="93058"/>
                          <a14:foregroundMark x1="32885" y1="92683" x2="32885" y2="92683"/>
                          <a14:foregroundMark x1="67115" y1="93621" x2="67115" y2="93621"/>
                          <a14:foregroundMark x1="87115" y1="93246" x2="87115" y2="93246"/>
                          <a14:foregroundMark x1="93077" y1="86867" x2="93077" y2="86867"/>
                          <a14:foregroundMark x1="90192" y1="84803" x2="90192" y2="84803"/>
                          <a14:foregroundMark x1="84423" y1="87054" x2="84423" y2="87054"/>
                          <a14:foregroundMark x1="84423" y1="81051" x2="84423" y2="81051"/>
                          <a14:foregroundMark x1="63462" y1="87054" x2="63462" y2="87054"/>
                          <a14:foregroundMark x1="64615" y1="81238" x2="64615" y2="81238"/>
                          <a14:foregroundMark x1="74808" y1="51595" x2="74808" y2="51595"/>
                          <a14:foregroundMark x1="75769" y1="46717" x2="75769" y2="46717"/>
                          <a14:foregroundMark x1="47885" y1="46341" x2="47885" y2="46341"/>
                          <a14:foregroundMark x1="47692" y1="52345" x2="47692" y2="52345"/>
                          <a14:foregroundMark x1="20192" y1="51782" x2="20192" y2="51782"/>
                          <a14:foregroundMark x1="22500" y1="46717" x2="22500" y2="46717"/>
                          <a14:foregroundMark x1="50192" y1="6004" x2="50192" y2="6004"/>
                          <a14:foregroundMark x1="47885" y1="12946" x2="47885" y2="12946"/>
                          <a14:foregroundMark x1="48654" y1="17448" x2="48654" y2="17448"/>
                          <a14:foregroundMark x1="10962" y1="81238" x2="10962" y2="81238"/>
                          <a14:foregroundMark x1="11346" y1="87054" x2="11346" y2="87054"/>
                          <a14:foregroundMark x1="33654" y1="86492" x2="33654" y2="86492"/>
                          <a14:foregroundMark x1="34615" y1="81051" x2="34615" y2="81051"/>
                          <a14:backgroundMark x1="90192" y1="84803" x2="90192" y2="84803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2123680" y="1823917"/>
              <a:ext cx="966827" cy="990998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70127373-6747-444E-A4A4-097FE11BF418}"/>
              </a:ext>
            </a:extLst>
          </p:cNvPr>
          <p:cNvGrpSpPr/>
          <p:nvPr/>
        </p:nvGrpSpPr>
        <p:grpSpPr>
          <a:xfrm>
            <a:off x="4505219" y="1750067"/>
            <a:ext cx="3083837" cy="1937289"/>
            <a:chOff x="4505219" y="1750067"/>
            <a:chExt cx="3083837" cy="1937289"/>
          </a:xfrm>
        </p:grpSpPr>
        <p:grpSp>
          <p:nvGrpSpPr>
            <p:cNvPr id="53" name="Gruppieren 52">
              <a:extLst>
                <a:ext uri="{FF2B5EF4-FFF2-40B4-BE49-F238E27FC236}">
                  <a16:creationId xmlns:a16="http://schemas.microsoft.com/office/drawing/2014/main" id="{5999A7A5-0358-5E4F-BC96-36E464D5C637}"/>
                </a:ext>
              </a:extLst>
            </p:cNvPr>
            <p:cNvGrpSpPr/>
            <p:nvPr/>
          </p:nvGrpSpPr>
          <p:grpSpPr>
            <a:xfrm>
              <a:off x="4505219" y="1750067"/>
              <a:ext cx="3083837" cy="1937289"/>
              <a:chOff x="838198" y="2526224"/>
              <a:chExt cx="1610534" cy="1937289"/>
            </a:xfrm>
          </p:grpSpPr>
          <p:sp>
            <p:nvSpPr>
              <p:cNvPr id="55" name="Rechteck 54">
                <a:extLst>
                  <a:ext uri="{FF2B5EF4-FFF2-40B4-BE49-F238E27FC236}">
                    <a16:creationId xmlns:a16="http://schemas.microsoft.com/office/drawing/2014/main" id="{5895827B-7B9F-A146-8EC6-B4FC6AD605FA}"/>
                  </a:ext>
                </a:extLst>
              </p:cNvPr>
              <p:cNvSpPr/>
              <p:nvPr/>
            </p:nvSpPr>
            <p:spPr>
              <a:xfrm>
                <a:off x="838199" y="2526224"/>
                <a:ext cx="1610533" cy="1193369"/>
              </a:xfrm>
              <a:prstGeom prst="rect">
                <a:avLst/>
              </a:prstGeom>
              <a:noFill/>
              <a:ln w="25400">
                <a:solidFill>
                  <a:srgbClr val="47A8BC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6" name="Rechteck 55">
                <a:extLst>
                  <a:ext uri="{FF2B5EF4-FFF2-40B4-BE49-F238E27FC236}">
                    <a16:creationId xmlns:a16="http://schemas.microsoft.com/office/drawing/2014/main" id="{26396D19-07CC-6C49-A764-79988B6328B2}"/>
                  </a:ext>
                </a:extLst>
              </p:cNvPr>
              <p:cNvSpPr/>
              <p:nvPr/>
            </p:nvSpPr>
            <p:spPr>
              <a:xfrm>
                <a:off x="838198" y="3719593"/>
                <a:ext cx="1610533" cy="743920"/>
              </a:xfrm>
              <a:prstGeom prst="rect">
                <a:avLst/>
              </a:prstGeom>
              <a:solidFill>
                <a:srgbClr val="47A8BC"/>
              </a:solidFill>
              <a:ln w="25400">
                <a:solidFill>
                  <a:srgbClr val="47A8BC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BE" b="1" dirty="0"/>
                  <a:t>Indexation</a:t>
                </a:r>
                <a:endParaRPr lang="en-US" b="1" dirty="0"/>
              </a:p>
            </p:txBody>
          </p:sp>
        </p:grpSp>
        <p:pic>
          <p:nvPicPr>
            <p:cNvPr id="25" name="Picture 12" descr="Data Collection Icon at Vectorified.com | Collection of Data ...">
              <a:extLst>
                <a:ext uri="{FF2B5EF4-FFF2-40B4-BE49-F238E27FC236}">
                  <a16:creationId xmlns:a16="http://schemas.microsoft.com/office/drawing/2014/main" id="{25B1CFAC-56E7-4BD7-96D4-80D0A0CBA1A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77002" y="1879686"/>
              <a:ext cx="935229" cy="9352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5A1758E9-2342-4E30-A254-DCF735430F81}"/>
              </a:ext>
            </a:extLst>
          </p:cNvPr>
          <p:cNvGrpSpPr/>
          <p:nvPr/>
        </p:nvGrpSpPr>
        <p:grpSpPr>
          <a:xfrm>
            <a:off x="7945261" y="1774436"/>
            <a:ext cx="3083837" cy="1937289"/>
            <a:chOff x="7945261" y="1774436"/>
            <a:chExt cx="3083837" cy="1937289"/>
          </a:xfrm>
        </p:grpSpPr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7A3A77A0-73CD-0D42-B7D3-9B55E2ABE439}"/>
                </a:ext>
              </a:extLst>
            </p:cNvPr>
            <p:cNvGrpSpPr/>
            <p:nvPr/>
          </p:nvGrpSpPr>
          <p:grpSpPr>
            <a:xfrm>
              <a:off x="7945261" y="1774436"/>
              <a:ext cx="3083837" cy="1937289"/>
              <a:chOff x="838198" y="2526224"/>
              <a:chExt cx="1610534" cy="1937289"/>
            </a:xfrm>
          </p:grpSpPr>
          <p:sp>
            <p:nvSpPr>
              <p:cNvPr id="7" name="Rechteck 6">
                <a:extLst>
                  <a:ext uri="{FF2B5EF4-FFF2-40B4-BE49-F238E27FC236}">
                    <a16:creationId xmlns:a16="http://schemas.microsoft.com/office/drawing/2014/main" id="{C17ABA4C-61A1-CE4F-8B5E-2735D7597B46}"/>
                  </a:ext>
                </a:extLst>
              </p:cNvPr>
              <p:cNvSpPr/>
              <p:nvPr/>
            </p:nvSpPr>
            <p:spPr>
              <a:xfrm>
                <a:off x="838199" y="2526224"/>
                <a:ext cx="1610533" cy="1193369"/>
              </a:xfrm>
              <a:prstGeom prst="rect">
                <a:avLst/>
              </a:prstGeom>
              <a:noFill/>
              <a:ln w="25400">
                <a:solidFill>
                  <a:srgbClr val="47A8BC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" name="Rechteck 9">
                <a:extLst>
                  <a:ext uri="{FF2B5EF4-FFF2-40B4-BE49-F238E27FC236}">
                    <a16:creationId xmlns:a16="http://schemas.microsoft.com/office/drawing/2014/main" id="{F18861FD-C0AA-9E4B-9201-63B7AE63F81A}"/>
                  </a:ext>
                </a:extLst>
              </p:cNvPr>
              <p:cNvSpPr/>
              <p:nvPr/>
            </p:nvSpPr>
            <p:spPr>
              <a:xfrm>
                <a:off x="838198" y="3719593"/>
                <a:ext cx="1610533" cy="743920"/>
              </a:xfrm>
              <a:prstGeom prst="rect">
                <a:avLst/>
              </a:prstGeom>
              <a:solidFill>
                <a:srgbClr val="47A8BC"/>
              </a:solidFill>
              <a:ln w="25400">
                <a:solidFill>
                  <a:srgbClr val="47A8BC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b="1" dirty="0" err="1"/>
                  <a:t>Freeforms</a:t>
                </a:r>
                <a:endParaRPr lang="en-US" b="1" dirty="0"/>
              </a:p>
            </p:txBody>
          </p:sp>
        </p:grpSp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562C0273-71BF-4535-BFB5-C0FDDF810C5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120096" y="1881532"/>
              <a:ext cx="734163" cy="933383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B2EEA9FF-F4D1-4F7F-B56E-D97CC523776A}"/>
              </a:ext>
            </a:extLst>
          </p:cNvPr>
          <p:cNvGrpSpPr/>
          <p:nvPr/>
        </p:nvGrpSpPr>
        <p:grpSpPr>
          <a:xfrm>
            <a:off x="1065177" y="4186506"/>
            <a:ext cx="3083837" cy="1937289"/>
            <a:chOff x="1065177" y="4186506"/>
            <a:chExt cx="3083837" cy="1937289"/>
          </a:xfrm>
        </p:grpSpPr>
        <p:grpSp>
          <p:nvGrpSpPr>
            <p:cNvPr id="44" name="Gruppieren 20">
              <a:extLst>
                <a:ext uri="{FF2B5EF4-FFF2-40B4-BE49-F238E27FC236}">
                  <a16:creationId xmlns:a16="http://schemas.microsoft.com/office/drawing/2014/main" id="{DC69BD08-B003-41A2-AD6D-FB8820D94BE3}"/>
                </a:ext>
              </a:extLst>
            </p:cNvPr>
            <p:cNvGrpSpPr/>
            <p:nvPr/>
          </p:nvGrpSpPr>
          <p:grpSpPr>
            <a:xfrm>
              <a:off x="1065177" y="4186506"/>
              <a:ext cx="3083837" cy="1937289"/>
              <a:chOff x="838198" y="2526224"/>
              <a:chExt cx="1610534" cy="1937289"/>
            </a:xfrm>
          </p:grpSpPr>
          <p:sp>
            <p:nvSpPr>
              <p:cNvPr id="46" name="Rechteck 21">
                <a:extLst>
                  <a:ext uri="{FF2B5EF4-FFF2-40B4-BE49-F238E27FC236}">
                    <a16:creationId xmlns:a16="http://schemas.microsoft.com/office/drawing/2014/main" id="{B9F434AD-22E2-46C2-92C6-050DE3150506}"/>
                  </a:ext>
                </a:extLst>
              </p:cNvPr>
              <p:cNvSpPr/>
              <p:nvPr/>
            </p:nvSpPr>
            <p:spPr>
              <a:xfrm>
                <a:off x="838199" y="2526224"/>
                <a:ext cx="1610533" cy="1193369"/>
              </a:xfrm>
              <a:prstGeom prst="rect">
                <a:avLst/>
              </a:prstGeom>
              <a:noFill/>
              <a:ln w="25400">
                <a:solidFill>
                  <a:srgbClr val="47A8BC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9" name="Rechteck 22">
                <a:extLst>
                  <a:ext uri="{FF2B5EF4-FFF2-40B4-BE49-F238E27FC236}">
                    <a16:creationId xmlns:a16="http://schemas.microsoft.com/office/drawing/2014/main" id="{908C6053-354D-4A18-BCEF-43ED9FF07E54}"/>
                  </a:ext>
                </a:extLst>
              </p:cNvPr>
              <p:cNvSpPr/>
              <p:nvPr/>
            </p:nvSpPr>
            <p:spPr>
              <a:xfrm>
                <a:off x="838198" y="3719593"/>
                <a:ext cx="1610533" cy="743920"/>
              </a:xfrm>
              <a:prstGeom prst="rect">
                <a:avLst/>
              </a:prstGeom>
              <a:solidFill>
                <a:srgbClr val="47A8BC"/>
              </a:solidFill>
              <a:ln w="25400">
                <a:solidFill>
                  <a:srgbClr val="47A8BC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BE" b="1" dirty="0"/>
                  <a:t>S</a:t>
                </a:r>
                <a:r>
                  <a:rPr lang="en-US" b="1" dirty="0" err="1"/>
                  <a:t>tructured</a:t>
                </a:r>
                <a:r>
                  <a:rPr lang="en-US" b="1" dirty="0"/>
                  <a:t> forms</a:t>
                </a:r>
              </a:p>
            </p:txBody>
          </p:sp>
        </p:grpSp>
        <p:pic>
          <p:nvPicPr>
            <p:cNvPr id="1026" name="Picture 2" descr="Community Bus | Go Golspie!">
              <a:extLst>
                <a:ext uri="{FF2B5EF4-FFF2-40B4-BE49-F238E27FC236}">
                  <a16:creationId xmlns:a16="http://schemas.microsoft.com/office/drawing/2014/main" id="{1EF5BCC7-98A3-4299-87B7-7ED8623BFE3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23680" y="4196538"/>
              <a:ext cx="1193369" cy="11933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6" name="Rechteck 2">
            <a:extLst>
              <a:ext uri="{FF2B5EF4-FFF2-40B4-BE49-F238E27FC236}">
                <a16:creationId xmlns:a16="http://schemas.microsoft.com/office/drawing/2014/main" id="{34E0EC0C-2CE8-462A-97D7-FDB2DB24B72F}"/>
              </a:ext>
            </a:extLst>
          </p:cNvPr>
          <p:cNvSpPr/>
          <p:nvPr/>
        </p:nvSpPr>
        <p:spPr>
          <a:xfrm>
            <a:off x="3766194" y="738707"/>
            <a:ext cx="492993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dirty="0">
                <a:solidFill>
                  <a:schemeClr val="accent5"/>
                </a:solidFill>
              </a:rPr>
              <a:t>| Technologies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B939397-0032-423F-B22D-1C65D1BA54BB}"/>
              </a:ext>
            </a:extLst>
          </p:cNvPr>
          <p:cNvGrpSpPr/>
          <p:nvPr/>
        </p:nvGrpSpPr>
        <p:grpSpPr>
          <a:xfrm>
            <a:off x="4505219" y="4182004"/>
            <a:ext cx="3083837" cy="1937289"/>
            <a:chOff x="4505219" y="4182004"/>
            <a:chExt cx="3083837" cy="1937289"/>
          </a:xfrm>
        </p:grpSpPr>
        <p:grpSp>
          <p:nvGrpSpPr>
            <p:cNvPr id="45" name="Gruppieren 44">
              <a:extLst>
                <a:ext uri="{FF2B5EF4-FFF2-40B4-BE49-F238E27FC236}">
                  <a16:creationId xmlns:a16="http://schemas.microsoft.com/office/drawing/2014/main" id="{B154591C-2EB3-EC49-BE97-2B032544E196}"/>
                </a:ext>
              </a:extLst>
            </p:cNvPr>
            <p:cNvGrpSpPr/>
            <p:nvPr/>
          </p:nvGrpSpPr>
          <p:grpSpPr>
            <a:xfrm>
              <a:off x="4505219" y="4182004"/>
              <a:ext cx="3083837" cy="1937289"/>
              <a:chOff x="838198" y="2526224"/>
              <a:chExt cx="1610534" cy="1937289"/>
            </a:xfrm>
          </p:grpSpPr>
          <p:sp>
            <p:nvSpPr>
              <p:cNvPr id="47" name="Rechteck 46">
                <a:extLst>
                  <a:ext uri="{FF2B5EF4-FFF2-40B4-BE49-F238E27FC236}">
                    <a16:creationId xmlns:a16="http://schemas.microsoft.com/office/drawing/2014/main" id="{078D7E62-E31D-2640-9432-8A0A2FD412B7}"/>
                  </a:ext>
                </a:extLst>
              </p:cNvPr>
              <p:cNvSpPr/>
              <p:nvPr/>
            </p:nvSpPr>
            <p:spPr>
              <a:xfrm>
                <a:off x="838199" y="2526224"/>
                <a:ext cx="1610533" cy="1193369"/>
              </a:xfrm>
              <a:prstGeom prst="rect">
                <a:avLst/>
              </a:prstGeom>
              <a:noFill/>
              <a:ln w="25400">
                <a:solidFill>
                  <a:srgbClr val="47A8BC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8" name="Rechteck 47">
                <a:extLst>
                  <a:ext uri="{FF2B5EF4-FFF2-40B4-BE49-F238E27FC236}">
                    <a16:creationId xmlns:a16="http://schemas.microsoft.com/office/drawing/2014/main" id="{C13932A7-FAED-2742-B430-AC8596558DF6}"/>
                  </a:ext>
                </a:extLst>
              </p:cNvPr>
              <p:cNvSpPr/>
              <p:nvPr/>
            </p:nvSpPr>
            <p:spPr>
              <a:xfrm>
                <a:off x="838198" y="3719593"/>
                <a:ext cx="1610533" cy="743920"/>
              </a:xfrm>
              <a:prstGeom prst="rect">
                <a:avLst/>
              </a:prstGeom>
              <a:solidFill>
                <a:srgbClr val="47A8BC"/>
              </a:solidFill>
              <a:ln w="25400">
                <a:solidFill>
                  <a:srgbClr val="47A8BC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b="1" dirty="0"/>
                  <a:t>Compression</a:t>
                </a:r>
              </a:p>
            </p:txBody>
          </p:sp>
        </p:grpSp>
        <p:pic>
          <p:nvPicPr>
            <p:cNvPr id="40" name="Picture 22" descr="Compress, compressor, data, shrink, zip icon">
              <a:extLst>
                <a:ext uri="{FF2B5EF4-FFF2-40B4-BE49-F238E27FC236}">
                  <a16:creationId xmlns:a16="http://schemas.microsoft.com/office/drawing/2014/main" id="{E9DE53EF-0D83-4C73-905F-D4AE480D8FC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26387" y="4419545"/>
              <a:ext cx="826209" cy="8262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92CC1514-A1F8-40BF-A8BB-969CFB55ED4E}"/>
              </a:ext>
            </a:extLst>
          </p:cNvPr>
          <p:cNvGrpSpPr/>
          <p:nvPr/>
        </p:nvGrpSpPr>
        <p:grpSpPr>
          <a:xfrm>
            <a:off x="7949922" y="4166623"/>
            <a:ext cx="3083837" cy="1937289"/>
            <a:chOff x="7949922" y="4166623"/>
            <a:chExt cx="3083837" cy="1937289"/>
          </a:xfrm>
        </p:grpSpPr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81A73B2D-F7C4-403E-BFDF-031685175D0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0231636" y="4467945"/>
              <a:ext cx="762000" cy="923925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9A0D92-8BE1-49EB-AD0E-7EA75DDF4408}"/>
                </a:ext>
              </a:extLst>
            </p:cNvPr>
            <p:cNvGrpSpPr/>
            <p:nvPr/>
          </p:nvGrpSpPr>
          <p:grpSpPr>
            <a:xfrm>
              <a:off x="7949922" y="4166623"/>
              <a:ext cx="3083837" cy="1937289"/>
              <a:chOff x="7949922" y="4166623"/>
              <a:chExt cx="3083837" cy="1937289"/>
            </a:xfrm>
          </p:grpSpPr>
          <p:grpSp>
            <p:nvGrpSpPr>
              <p:cNvPr id="50" name="Gruppieren 14">
                <a:extLst>
                  <a:ext uri="{FF2B5EF4-FFF2-40B4-BE49-F238E27FC236}">
                    <a16:creationId xmlns:a16="http://schemas.microsoft.com/office/drawing/2014/main" id="{5F3C5776-00BA-47A7-92F8-0756CC5170FD}"/>
                  </a:ext>
                </a:extLst>
              </p:cNvPr>
              <p:cNvGrpSpPr/>
              <p:nvPr/>
            </p:nvGrpSpPr>
            <p:grpSpPr>
              <a:xfrm>
                <a:off x="7949922" y="4166623"/>
                <a:ext cx="3083837" cy="1937289"/>
                <a:chOff x="838198" y="2526224"/>
                <a:chExt cx="1610534" cy="1937289"/>
              </a:xfrm>
            </p:grpSpPr>
            <p:sp>
              <p:nvSpPr>
                <p:cNvPr id="57" name="Rechteck 15">
                  <a:extLst>
                    <a:ext uri="{FF2B5EF4-FFF2-40B4-BE49-F238E27FC236}">
                      <a16:creationId xmlns:a16="http://schemas.microsoft.com/office/drawing/2014/main" id="{8932878F-E994-47FF-B4C6-8C9C290BD257}"/>
                    </a:ext>
                  </a:extLst>
                </p:cNvPr>
                <p:cNvSpPr/>
                <p:nvPr/>
              </p:nvSpPr>
              <p:spPr>
                <a:xfrm>
                  <a:off x="838199" y="2526224"/>
                  <a:ext cx="1610533" cy="1193369"/>
                </a:xfrm>
                <a:prstGeom prst="rect">
                  <a:avLst/>
                </a:prstGeom>
                <a:noFill/>
                <a:ln w="25400">
                  <a:solidFill>
                    <a:srgbClr val="47A8BC"/>
                  </a:solidFill>
                </a:ln>
                <a:effectLst>
                  <a:outerShdw blurRad="50800" dist="50800" dir="5400000" algn="ctr" rotWithShape="0">
                    <a:schemeClr val="bg1"/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8" name="Rechteck 16">
                  <a:extLst>
                    <a:ext uri="{FF2B5EF4-FFF2-40B4-BE49-F238E27FC236}">
                      <a16:creationId xmlns:a16="http://schemas.microsoft.com/office/drawing/2014/main" id="{83F847E5-BB7A-49D1-91CC-409B9F652832}"/>
                    </a:ext>
                  </a:extLst>
                </p:cNvPr>
                <p:cNvSpPr/>
                <p:nvPr/>
              </p:nvSpPr>
              <p:spPr>
                <a:xfrm>
                  <a:off x="838198" y="3719593"/>
                  <a:ext cx="1610533" cy="743920"/>
                </a:xfrm>
                <a:prstGeom prst="rect">
                  <a:avLst/>
                </a:prstGeom>
                <a:solidFill>
                  <a:srgbClr val="47A8BC"/>
                </a:solidFill>
                <a:ln w="25400">
                  <a:solidFill>
                    <a:srgbClr val="47A8BC"/>
                  </a:solidFill>
                </a:ln>
                <a:effectLst>
                  <a:outerShdw blurRad="50800" dist="50800" dir="5400000" algn="ctr" rotWithShape="0">
                    <a:schemeClr val="bg1"/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b="1" dirty="0"/>
                    <a:t>Formatting</a:t>
                  </a:r>
                </a:p>
              </p:txBody>
            </p:sp>
          </p:grpSp>
          <p:pic>
            <p:nvPicPr>
              <p:cNvPr id="51" name="Picture 26">
                <a:extLst>
                  <a:ext uri="{FF2B5EF4-FFF2-40B4-BE49-F238E27FC236}">
                    <a16:creationId xmlns:a16="http://schemas.microsoft.com/office/drawing/2014/main" id="{127808EB-C93E-4392-993A-8A07AF83308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050416" y="4250311"/>
                <a:ext cx="662167" cy="662167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52" name="Picture 27">
                <a:extLst>
                  <a:ext uri="{FF2B5EF4-FFF2-40B4-BE49-F238E27FC236}">
                    <a16:creationId xmlns:a16="http://schemas.microsoft.com/office/drawing/2014/main" id="{17C97EE1-5C59-479E-A14D-F7E97EB86F9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529347" y="4267741"/>
                <a:ext cx="662167" cy="662167"/>
              </a:xfrm>
              <a:prstGeom prst="rect">
                <a:avLst/>
              </a:prstGeom>
            </p:spPr>
          </p:pic>
          <p:pic>
            <p:nvPicPr>
              <p:cNvPr id="54" name="Picture 28">
                <a:extLst>
                  <a:ext uri="{FF2B5EF4-FFF2-40B4-BE49-F238E27FC236}">
                    <a16:creationId xmlns:a16="http://schemas.microsoft.com/office/drawing/2014/main" id="{3E37F778-9BC8-4FBC-AC9F-DCD41F53CE5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778179" y="4581394"/>
                <a:ext cx="662167" cy="662167"/>
              </a:xfrm>
              <a:prstGeom prst="rect">
                <a:avLst/>
              </a:prstGeom>
            </p:spPr>
          </p:pic>
        </p:grpSp>
      </p:grpSp>
      <p:pic>
        <p:nvPicPr>
          <p:cNvPr id="59" name="Picture 8">
            <a:extLst>
              <a:ext uri="{FF2B5EF4-FFF2-40B4-BE49-F238E27FC236}">
                <a16:creationId xmlns:a16="http://schemas.microsoft.com/office/drawing/2014/main" id="{4188D19B-2CEF-49D9-9378-EB5C960B22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177" y="685216"/>
            <a:ext cx="1962150" cy="809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174443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E5AF2977-B694-814F-83E1-FE83D8F4E46D}"/>
              </a:ext>
            </a:extLst>
          </p:cNvPr>
          <p:cNvSpPr/>
          <p:nvPr/>
        </p:nvSpPr>
        <p:spPr>
          <a:xfrm>
            <a:off x="1065178" y="738707"/>
            <a:ext cx="7265643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600" dirty="0">
                <a:solidFill>
                  <a:schemeClr val="accent5"/>
                </a:solidFill>
              </a:rPr>
              <a:t>Toolkits | Technical details and Pricing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1EEA7AC0-2FE9-4D25-BAC7-1B46427F31F2}"/>
              </a:ext>
            </a:extLst>
          </p:cNvPr>
          <p:cNvGraphicFramePr>
            <a:graphicFrameLocks noGrp="1"/>
          </p:cNvGraphicFramePr>
          <p:nvPr/>
        </p:nvGraphicFramePr>
        <p:xfrm>
          <a:off x="1065178" y="2244000"/>
          <a:ext cx="9757310" cy="294568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404532">
                  <a:extLst>
                    <a:ext uri="{9D8B030D-6E8A-4147-A177-3AD203B41FA5}">
                      <a16:colId xmlns:a16="http://schemas.microsoft.com/office/drawing/2014/main" val="269740705"/>
                    </a:ext>
                  </a:extLst>
                </a:gridCol>
                <a:gridCol w="2141950">
                  <a:extLst>
                    <a:ext uri="{9D8B030D-6E8A-4147-A177-3AD203B41FA5}">
                      <a16:colId xmlns:a16="http://schemas.microsoft.com/office/drawing/2014/main" val="2843106790"/>
                    </a:ext>
                  </a:extLst>
                </a:gridCol>
                <a:gridCol w="1665440">
                  <a:extLst>
                    <a:ext uri="{9D8B030D-6E8A-4147-A177-3AD203B41FA5}">
                      <a16:colId xmlns:a16="http://schemas.microsoft.com/office/drawing/2014/main" val="1662720345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1673061565"/>
                    </a:ext>
                  </a:extLst>
                </a:gridCol>
                <a:gridCol w="2173788">
                  <a:extLst>
                    <a:ext uri="{9D8B030D-6E8A-4147-A177-3AD203B41FA5}">
                      <a16:colId xmlns:a16="http://schemas.microsoft.com/office/drawing/2014/main" val="2340645150"/>
                    </a:ext>
                  </a:extLst>
                </a:gridCol>
              </a:tblGrid>
              <a:tr h="511726">
                <a:tc>
                  <a:txBody>
                    <a:bodyPr/>
                    <a:lstStyle/>
                    <a:p>
                      <a:endParaRPr lang="en-US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/>
                        <a:t>Platfor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/>
                        <a:t>AP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/>
                        <a:t>SDK Pric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/>
                        <a:t>RTL Pric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86290027"/>
                  </a:ext>
                </a:extLst>
              </a:tr>
              <a:tr h="811318">
                <a:tc>
                  <a:txBody>
                    <a:bodyPr/>
                    <a:lstStyle/>
                    <a:p>
                      <a:endParaRPr lang="en-US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>
                          <a:solidFill>
                            <a:schemeClr val="accent5"/>
                          </a:solidFill>
                        </a:rPr>
                        <a:t>3.990 EU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>
                          <a:solidFill>
                            <a:schemeClr val="accent5"/>
                          </a:solidFill>
                        </a:rPr>
                        <a:t>All models possibl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26741955"/>
                  </a:ext>
                </a:extLst>
              </a:tr>
              <a:tr h="811318">
                <a:tc>
                  <a:txBody>
                    <a:bodyPr/>
                    <a:lstStyle/>
                    <a:p>
                      <a:endParaRPr lang="en-US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>
                          <a:solidFill>
                            <a:schemeClr val="accent5"/>
                          </a:solidFill>
                        </a:rPr>
                        <a:t>3.990 EU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>
                          <a:solidFill>
                            <a:schemeClr val="accent5"/>
                          </a:solidFill>
                        </a:rPr>
                        <a:t>Pricing per number of download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65613758"/>
                  </a:ext>
                </a:extLst>
              </a:tr>
              <a:tr h="811318">
                <a:tc>
                  <a:txBody>
                    <a:bodyPr/>
                    <a:lstStyle/>
                    <a:p>
                      <a:endParaRPr lang="en-US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>
                          <a:solidFill>
                            <a:schemeClr val="accent5"/>
                          </a:solidFill>
                        </a:rPr>
                        <a:t>COM AP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>
                          <a:solidFill>
                            <a:schemeClr val="accent5"/>
                          </a:solidFill>
                        </a:rPr>
                        <a:t>3.900 EU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>
                          <a:solidFill>
                            <a:schemeClr val="accent5"/>
                          </a:solidFill>
                        </a:rPr>
                        <a:t>Pricing per pag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70987026"/>
                  </a:ext>
                </a:extLst>
              </a:tr>
            </a:tbl>
          </a:graphicData>
        </a:graphic>
      </p:graphicFrame>
      <p:pic>
        <p:nvPicPr>
          <p:cNvPr id="30" name="Grafik 8">
            <a:extLst>
              <a:ext uri="{FF2B5EF4-FFF2-40B4-BE49-F238E27FC236}">
                <a16:creationId xmlns:a16="http://schemas.microsoft.com/office/drawing/2014/main" id="{DAFD6696-8AF3-4053-8636-F6DE386487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5286" y="4475471"/>
            <a:ext cx="588429" cy="588429"/>
          </a:xfrm>
          <a:prstGeom prst="rect">
            <a:avLst/>
          </a:prstGeom>
        </p:spPr>
      </p:pic>
      <p:pic>
        <p:nvPicPr>
          <p:cNvPr id="31" name="Grafik 9">
            <a:extLst>
              <a:ext uri="{FF2B5EF4-FFF2-40B4-BE49-F238E27FC236}">
                <a16:creationId xmlns:a16="http://schemas.microsoft.com/office/drawing/2014/main" id="{E700AA76-7334-475D-81C7-A9C3004F02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74847" y="4664379"/>
            <a:ext cx="1258963" cy="424216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AFC516D9-F003-4724-A75B-F7BCBA677FC1}"/>
              </a:ext>
            </a:extLst>
          </p:cNvPr>
          <p:cNvGrpSpPr/>
          <p:nvPr/>
        </p:nvGrpSpPr>
        <p:grpSpPr>
          <a:xfrm>
            <a:off x="1155286" y="3691487"/>
            <a:ext cx="2211160" cy="596475"/>
            <a:chOff x="1155286" y="3691487"/>
            <a:chExt cx="2211160" cy="596475"/>
          </a:xfrm>
        </p:grpSpPr>
        <p:pic>
          <p:nvPicPr>
            <p:cNvPr id="32" name="Grafik 10">
              <a:extLst>
                <a:ext uri="{FF2B5EF4-FFF2-40B4-BE49-F238E27FC236}">
                  <a16:creationId xmlns:a16="http://schemas.microsoft.com/office/drawing/2014/main" id="{5EBAE40D-81CD-4668-B1C4-CA41B15BB9E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55286" y="3691487"/>
              <a:ext cx="588429" cy="588429"/>
            </a:xfrm>
            <a:prstGeom prst="rect">
              <a:avLst/>
            </a:prstGeom>
          </p:spPr>
        </p:pic>
        <p:pic>
          <p:nvPicPr>
            <p:cNvPr id="33" name="Grafik 11">
              <a:extLst>
                <a:ext uri="{FF2B5EF4-FFF2-40B4-BE49-F238E27FC236}">
                  <a16:creationId xmlns:a16="http://schemas.microsoft.com/office/drawing/2014/main" id="{CACCDB5A-5D40-442E-8B4C-5C55A8CFCB1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874846" y="3863746"/>
              <a:ext cx="1491600" cy="424216"/>
            </a:xfrm>
            <a:prstGeom prst="rect">
              <a:avLst/>
            </a:prstGeom>
          </p:spPr>
        </p:pic>
      </p:grpSp>
      <p:pic>
        <p:nvPicPr>
          <p:cNvPr id="36" name="Picture 35">
            <a:extLst>
              <a:ext uri="{FF2B5EF4-FFF2-40B4-BE49-F238E27FC236}">
                <a16:creationId xmlns:a16="http://schemas.microsoft.com/office/drawing/2014/main" id="{6976D475-3FC7-4159-B889-C7D3DF5DA50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0240" y="2931708"/>
            <a:ext cx="452708" cy="45270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2AA088A-D390-4FAA-AB88-E0A05ED8060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78429"/>
          <a:stretch/>
        </p:blipFill>
        <p:spPr>
          <a:xfrm>
            <a:off x="4581255" y="3679233"/>
            <a:ext cx="565339" cy="588429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ACD0B6E0-7ABA-4537-A5E1-01913E0F38BE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78381"/>
          <a:stretch/>
        </p:blipFill>
        <p:spPr>
          <a:xfrm>
            <a:off x="4015464" y="3686749"/>
            <a:ext cx="566604" cy="588429"/>
          </a:xfrm>
          <a:prstGeom prst="rect">
            <a:avLst/>
          </a:prstGeom>
        </p:spPr>
      </p:pic>
      <p:pic>
        <p:nvPicPr>
          <p:cNvPr id="2050" name="Picture 2" descr="Icône C++ - Téléchargement gratuit en PNG et vecteurs">
            <a:extLst>
              <a:ext uri="{FF2B5EF4-FFF2-40B4-BE49-F238E27FC236}">
                <a16:creationId xmlns:a16="http://schemas.microsoft.com/office/drawing/2014/main" id="{CFE9EF6A-7074-465C-B9D3-4AB49854FD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9939" y="2961530"/>
            <a:ext cx="415345" cy="4153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ASP.NET core VS Code Extension Pack - Visual Studio Marketplace">
            <a:extLst>
              <a:ext uri="{FF2B5EF4-FFF2-40B4-BE49-F238E27FC236}">
                <a16:creationId xmlns:a16="http://schemas.microsoft.com/office/drawing/2014/main" id="{A9AA4E6D-2491-4552-B56C-338E7508D6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8704" b="90000" l="10000" r="90000">
                        <a14:foregroundMark x1="20556" y1="25556" x2="18519" y2="32500"/>
                        <a14:foregroundMark x1="18519" y1="32500" x2="20000" y2="40000"/>
                        <a14:foregroundMark x1="20000" y1="40000" x2="24444" y2="25648"/>
                        <a14:foregroundMark x1="24444" y1="25648" x2="32222" y2="29259"/>
                        <a14:foregroundMark x1="32222" y1="29259" x2="37222" y2="38333"/>
                        <a14:foregroundMark x1="37222" y1="10370" x2="44630" y2="8889"/>
                        <a14:foregroundMark x1="44630" y1="8889" x2="52037" y2="9259"/>
                        <a14:foregroundMark x1="52037" y1="9259" x2="44907" y2="8704"/>
                        <a14:foregroundMark x1="44907" y1="8704" x2="56852" y2="944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5436" y="2961530"/>
            <a:ext cx="494169" cy="494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Free C programming Icon of Flat style - Available in SVG, PNG, EPS, AI &amp;amp;  Icon fonts">
            <a:extLst>
              <a:ext uri="{FF2B5EF4-FFF2-40B4-BE49-F238E27FC236}">
                <a16:creationId xmlns:a16="http://schemas.microsoft.com/office/drawing/2014/main" id="{5E4E4E08-D3C5-401A-898D-2492624E36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0573" y="2961530"/>
            <a:ext cx="399683" cy="3996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 descr="Icône C++ - Téléchargement gratuit en PNG et vecteurs">
            <a:extLst>
              <a:ext uri="{FF2B5EF4-FFF2-40B4-BE49-F238E27FC236}">
                <a16:creationId xmlns:a16="http://schemas.microsoft.com/office/drawing/2014/main" id="{66568B4E-DA90-48BD-BD91-98C0368BBC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6035" y="3772298"/>
            <a:ext cx="415345" cy="4153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6" descr="ASP.NET core VS Code Extension Pack - Visual Studio Marketplace">
            <a:extLst>
              <a:ext uri="{FF2B5EF4-FFF2-40B4-BE49-F238E27FC236}">
                <a16:creationId xmlns:a16="http://schemas.microsoft.com/office/drawing/2014/main" id="{9759EC6B-B0DE-4E00-B826-DEEA5F169C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8704" b="90000" l="10000" r="90000">
                        <a14:foregroundMark x1="20556" y1="25556" x2="18519" y2="32500"/>
                        <a14:foregroundMark x1="18519" y1="32500" x2="20000" y2="40000"/>
                        <a14:foregroundMark x1="20000" y1="40000" x2="24444" y2="25648"/>
                        <a14:foregroundMark x1="24444" y1="25648" x2="32222" y2="29259"/>
                        <a14:foregroundMark x1="32222" y1="29259" x2="37222" y2="38333"/>
                        <a14:foregroundMark x1="37222" y1="10370" x2="44630" y2="8889"/>
                        <a14:foregroundMark x1="44630" y1="8889" x2="52037" y2="9259"/>
                        <a14:foregroundMark x1="52037" y1="9259" x2="44907" y2="8704"/>
                        <a14:foregroundMark x1="44907" y1="8704" x2="56852" y2="944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1532" y="3772298"/>
            <a:ext cx="494169" cy="494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Free C programming Icon of Flat style - Available in SVG, PNG, EPS, AI &amp;amp;  Icon fonts">
            <a:extLst>
              <a:ext uri="{FF2B5EF4-FFF2-40B4-BE49-F238E27FC236}">
                <a16:creationId xmlns:a16="http://schemas.microsoft.com/office/drawing/2014/main" id="{BFFCB596-3E34-40F4-9BEC-073EC12A9E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6669" y="3772298"/>
            <a:ext cx="399683" cy="3996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4">
            <a:extLst>
              <a:ext uri="{FF2B5EF4-FFF2-40B4-BE49-F238E27FC236}">
                <a16:creationId xmlns:a16="http://schemas.microsoft.com/office/drawing/2014/main" id="{3B6B3D51-1CE7-4BEA-8002-1C6281CFF6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178" y="2764389"/>
            <a:ext cx="2047875" cy="809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8" descr="Download Free png Download APPLE LOGO Free PNG transparent image and  clipart - DLPNG.com">
            <a:extLst>
              <a:ext uri="{FF2B5EF4-FFF2-40B4-BE49-F238E27FC236}">
                <a16:creationId xmlns:a16="http://schemas.microsoft.com/office/drawing/2014/main" id="{3EEA997C-D65C-4CCE-BCD5-ADA3534C29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4031" y="2862354"/>
            <a:ext cx="398406" cy="488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" descr="Windows logo : histoire, signification et évolution, symbole">
            <a:extLst>
              <a:ext uri="{FF2B5EF4-FFF2-40B4-BE49-F238E27FC236}">
                <a16:creationId xmlns:a16="http://schemas.microsoft.com/office/drawing/2014/main" id="{3AC2E6AF-F3B5-4657-A509-A09F26C197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5410" y="2947880"/>
            <a:ext cx="495778" cy="452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" descr="Windows logo : histoire, signification et évolution, symbole">
            <a:extLst>
              <a:ext uri="{FF2B5EF4-FFF2-40B4-BE49-F238E27FC236}">
                <a16:creationId xmlns:a16="http://schemas.microsoft.com/office/drawing/2014/main" id="{B254F3AD-72DA-4D30-8832-F1951B6975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3366" y="4522434"/>
            <a:ext cx="495778" cy="452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520084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7v8BOsUU2IUz6OTMU9CQ"/>
</p:tagLst>
</file>

<file path=ppt/theme/theme1.xml><?xml version="1.0" encoding="utf-8"?>
<a:theme xmlns:a="http://schemas.openxmlformats.org/drawingml/2006/main" name="IRIS Group Theme">
  <a:themeElements>
    <a:clrScheme name="CANON-IRIS_2017">
      <a:dk1>
        <a:srgbClr val="000000"/>
      </a:dk1>
      <a:lt1>
        <a:srgbClr val="FFFFFF"/>
      </a:lt1>
      <a:dk2>
        <a:srgbClr val="8A8A8A"/>
      </a:dk2>
      <a:lt2>
        <a:srgbClr val="E7E6E6"/>
      </a:lt2>
      <a:accent1>
        <a:srgbClr val="FFED00"/>
      </a:accent1>
      <a:accent2>
        <a:srgbClr val="FF9100"/>
      </a:accent2>
      <a:accent3>
        <a:srgbClr val="FF0016"/>
      </a:accent3>
      <a:accent4>
        <a:srgbClr val="0E68AF"/>
      </a:accent4>
      <a:accent5>
        <a:srgbClr val="47A8BC"/>
      </a:accent5>
      <a:accent6>
        <a:srgbClr val="7AC232"/>
      </a:accent6>
      <a:hlink>
        <a:srgbClr val="5E5E5E"/>
      </a:hlink>
      <a:folHlink>
        <a:srgbClr val="A4A4A4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4CEB7D04-12C5-4A91-A97C-9C4644423148}" vid="{54C5C6D5-6B0E-4DB2-A0C7-89885F7B5DD1}"/>
    </a:ext>
  </a:extLst>
</a:theme>
</file>

<file path=ppt/theme/theme2.xml><?xml version="1.0" encoding="utf-8"?>
<a:theme xmlns:a="http://schemas.openxmlformats.org/drawingml/2006/main" name="IRIS PS Theme">
  <a:themeElements>
    <a:clrScheme name="CANON-IRIS_2017">
      <a:dk1>
        <a:srgbClr val="000000"/>
      </a:dk1>
      <a:lt1>
        <a:srgbClr val="FFFFFF"/>
      </a:lt1>
      <a:dk2>
        <a:srgbClr val="8A8A8A"/>
      </a:dk2>
      <a:lt2>
        <a:srgbClr val="E7E6E6"/>
      </a:lt2>
      <a:accent1>
        <a:srgbClr val="FFED00"/>
      </a:accent1>
      <a:accent2>
        <a:srgbClr val="FF9100"/>
      </a:accent2>
      <a:accent3>
        <a:srgbClr val="FF0016"/>
      </a:accent3>
      <a:accent4>
        <a:srgbClr val="0E68AF"/>
      </a:accent4>
      <a:accent5>
        <a:srgbClr val="47A8BC"/>
      </a:accent5>
      <a:accent6>
        <a:srgbClr val="7AC232"/>
      </a:accent6>
      <a:hlink>
        <a:srgbClr val="5E5E5E"/>
      </a:hlink>
      <a:folHlink>
        <a:srgbClr val="A4A4A4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4CEB7D04-12C5-4A91-A97C-9C4644423148}" vid="{7EDABE68-9709-4444-A7EB-EA8C74F41037}"/>
    </a:ext>
  </a:extLst>
</a:theme>
</file>

<file path=ppt/theme/theme3.xml><?xml version="1.0" encoding="utf-8"?>
<a:theme xmlns:a="http://schemas.openxmlformats.org/drawingml/2006/main" name="IRIS P&amp;T Theme">
  <a:themeElements>
    <a:clrScheme name="CANON-IRIS_2017">
      <a:dk1>
        <a:srgbClr val="000000"/>
      </a:dk1>
      <a:lt1>
        <a:srgbClr val="FFFFFF"/>
      </a:lt1>
      <a:dk2>
        <a:srgbClr val="8A8A8A"/>
      </a:dk2>
      <a:lt2>
        <a:srgbClr val="E7E6E6"/>
      </a:lt2>
      <a:accent1>
        <a:srgbClr val="FFED00"/>
      </a:accent1>
      <a:accent2>
        <a:srgbClr val="FF9100"/>
      </a:accent2>
      <a:accent3>
        <a:srgbClr val="FF0016"/>
      </a:accent3>
      <a:accent4>
        <a:srgbClr val="0E68AF"/>
      </a:accent4>
      <a:accent5>
        <a:srgbClr val="47A8BC"/>
      </a:accent5>
      <a:accent6>
        <a:srgbClr val="7AC232"/>
      </a:accent6>
      <a:hlink>
        <a:srgbClr val="5E5E5E"/>
      </a:hlink>
      <a:folHlink>
        <a:srgbClr val="A4A4A4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4CEB7D04-12C5-4A91-A97C-9C4644423148}" vid="{F9489E79-6D98-4BBD-A9C1-A09B62D4FCE9}"/>
    </a:ext>
  </a:extLst>
</a:theme>
</file>

<file path=ppt/theme/theme4.xml><?xml version="1.0" encoding="utf-8"?>
<a:theme xmlns:a="http://schemas.openxmlformats.org/drawingml/2006/main" name="1_IRIS - CALIBRI">
  <a:themeElements>
    <a:clrScheme name="IRIS">
      <a:dk1>
        <a:sysClr val="windowText" lastClr="000000"/>
      </a:dk1>
      <a:lt1>
        <a:sysClr val="window" lastClr="FFFFFF"/>
      </a:lt1>
      <a:dk2>
        <a:srgbClr val="0A50A1"/>
      </a:dk2>
      <a:lt2>
        <a:srgbClr val="00ABBD"/>
      </a:lt2>
      <a:accent1>
        <a:srgbClr val="FFC20E"/>
      </a:accent1>
      <a:accent2>
        <a:srgbClr val="DB0000"/>
      </a:accent2>
      <a:accent3>
        <a:srgbClr val="8DC63F"/>
      </a:accent3>
      <a:accent4>
        <a:srgbClr val="FF7F00"/>
      </a:accent4>
      <a:accent5>
        <a:srgbClr val="9FA4A6"/>
      </a:accent5>
      <a:accent6>
        <a:srgbClr val="004B91"/>
      </a:accent6>
      <a:hlink>
        <a:srgbClr val="0563C1"/>
      </a:hlink>
      <a:folHlink>
        <a:srgbClr val="954F72"/>
      </a:folHlink>
    </a:clrScheme>
    <a:fontScheme name="Cofinimo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IRIS P&amp;T Theme">
  <a:themeElements>
    <a:clrScheme name="CANON-IRIS_2017">
      <a:dk1>
        <a:srgbClr val="000000"/>
      </a:dk1>
      <a:lt1>
        <a:srgbClr val="FFFFFF"/>
      </a:lt1>
      <a:dk2>
        <a:srgbClr val="8A8A8A"/>
      </a:dk2>
      <a:lt2>
        <a:srgbClr val="E7E6E6"/>
      </a:lt2>
      <a:accent1>
        <a:srgbClr val="FFED00"/>
      </a:accent1>
      <a:accent2>
        <a:srgbClr val="FF9100"/>
      </a:accent2>
      <a:accent3>
        <a:srgbClr val="FF0016"/>
      </a:accent3>
      <a:accent4>
        <a:srgbClr val="0E68AF"/>
      </a:accent4>
      <a:accent5>
        <a:srgbClr val="47A8BC"/>
      </a:accent5>
      <a:accent6>
        <a:srgbClr val="7AC232"/>
      </a:accent6>
      <a:hlink>
        <a:srgbClr val="5E5E5E"/>
      </a:hlink>
      <a:folHlink>
        <a:srgbClr val="A4A4A4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4CEB7D04-12C5-4A91-A97C-9C4644423148}" vid="{F9489E79-6D98-4BBD-A9C1-A09B62D4FCE9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7923D86AD39E54481B475A47CAADBAF" ma:contentTypeVersion="13" ma:contentTypeDescription="Create a new document." ma:contentTypeScope="" ma:versionID="7cee0547130feaa379c2791dc1273122">
  <xsd:schema xmlns:xsd="http://www.w3.org/2001/XMLSchema" xmlns:xs="http://www.w3.org/2001/XMLSchema" xmlns:p="http://schemas.microsoft.com/office/2006/metadata/properties" xmlns:ns3="2c93256d-e2ce-4f7a-8b8c-726704dd508e" xmlns:ns4="65618759-d5b5-4ca4-97d8-de708953f792" targetNamespace="http://schemas.microsoft.com/office/2006/metadata/properties" ma:root="true" ma:fieldsID="a8763aeaead343ca12fa83978cda128f" ns3:_="" ns4:_="">
    <xsd:import namespace="2c93256d-e2ce-4f7a-8b8c-726704dd508e"/>
    <xsd:import namespace="65618759-d5b5-4ca4-97d8-de708953f792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93256d-e2ce-4f7a-8b8c-726704dd508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2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3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5618759-d5b5-4ca4-97d8-de708953f792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6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E7C341A-D4D1-4DC5-BD78-78696216A46E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55A1B174-BB03-4840-9105-82D357FFDD7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c93256d-e2ce-4f7a-8b8c-726704dd508e"/>
    <ds:schemaRef ds:uri="65618759-d5b5-4ca4-97d8-de708953f79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B5779C4-D7E5-40C7-8825-9DC721DBC54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RIS_Template_June2017</Template>
  <TotalTime>702</TotalTime>
  <Words>683</Words>
  <Application>Microsoft Office PowerPoint</Application>
  <PresentationFormat>Widescreen</PresentationFormat>
  <Paragraphs>184</Paragraphs>
  <Slides>20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2" baseType="lpstr">
      <vt:lpstr>Arial</vt:lpstr>
      <vt:lpstr>Calibri</vt:lpstr>
      <vt:lpstr>Calibri Light</vt:lpstr>
      <vt:lpstr>Nexa Bold</vt:lpstr>
      <vt:lpstr>Open Sans</vt:lpstr>
      <vt:lpstr>Wingdings</vt:lpstr>
      <vt:lpstr>IRIS Group Theme</vt:lpstr>
      <vt:lpstr>IRIS PS Theme</vt:lpstr>
      <vt:lpstr>IRIS P&amp;T Theme</vt:lpstr>
      <vt:lpstr>1_IRIS - CALIBRI</vt:lpstr>
      <vt:lpstr>1_IRIS P&amp;T Theme</vt:lpstr>
      <vt:lpstr>think-cell Slide</vt:lpstr>
      <vt:lpstr>PowerPoint Presentation</vt:lpstr>
      <vt:lpstr>PowerPoint Presentation</vt:lpstr>
      <vt:lpstr>Integration | Types</vt:lpstr>
      <vt:lpstr>Integration | Typ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ntegration | Types</vt:lpstr>
      <vt:lpstr>PowerPoint Presentation</vt:lpstr>
      <vt:lpstr>PowerPoint Presentation</vt:lpstr>
      <vt:lpstr>PowerPoint Presentation</vt:lpstr>
      <vt:lpstr>PowerPoint Presentation</vt:lpstr>
      <vt:lpstr>Integration | Types</vt:lpstr>
      <vt:lpstr>| AP Service</vt:lpstr>
      <vt:lpstr>PowerPoint Presentation</vt:lpstr>
      <vt:lpstr>IRIS - Commercial Benefits</vt:lpstr>
      <vt:lpstr>Questions ?</vt:lpstr>
      <vt:lpstr>PowerPoint Presentation</vt:lpstr>
    </vt:vector>
  </TitlesOfParts>
  <Company>Hewlett-Packar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therine Rochigneux</dc:creator>
  <cp:lastModifiedBy>Pierre Deschamps</cp:lastModifiedBy>
  <cp:revision>455</cp:revision>
  <dcterms:created xsi:type="dcterms:W3CDTF">2017-06-14T07:23:52Z</dcterms:created>
  <dcterms:modified xsi:type="dcterms:W3CDTF">2021-07-07T13:42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fs.LastKnownPath">
    <vt:lpwstr>https://canoneuropenv-my.sharepoint.com/personal/olivier_deschuyteneer_iriscorporate_net/Documents/Sales/Presentation/IRIS - Partners Event Canon France.pptx</vt:lpwstr>
  </property>
  <property fmtid="{D5CDD505-2E9C-101B-9397-08002B2CF9AE}" pid="3" name="ContentTypeId">
    <vt:lpwstr>0x01010027923D86AD39E54481B475A47CAADBAF</vt:lpwstr>
  </property>
</Properties>
</file>